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slideLayouts/slideLayout5.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5.xml" ContentType="application/vnd.openxmlformats-officedocument.theme+xml"/>
  <Override PartName="/ppt/slideLayouts/slideLayout12.xml" ContentType="application/vnd.openxmlformats-officedocument.presentationml.slideLayout+xml"/>
  <Override PartName="/ppt/theme/theme3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7.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8.xml" ContentType="application/vnd.openxmlformats-officedocument.theme+xml"/>
  <Override PartName="/ppt/slideLayouts/slideLayout22.xml" ContentType="application/vnd.openxmlformats-officedocument.presentationml.slideLayout+xml"/>
  <Override PartName="/ppt/theme/theme39.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theme/theme4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1.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2.xml" ContentType="application/vnd.openxmlformats-officedocument.theme+xml"/>
  <Override PartName="/ppt/slideLayouts/slideLayout28.xml" ContentType="application/vnd.openxmlformats-officedocument.presentationml.slideLayout+xml"/>
  <Override PartName="/ppt/theme/theme43.xml" ContentType="application/vnd.openxmlformats-officedocument.theme+xml"/>
  <Override PartName="/ppt/slideLayouts/slideLayout29.xml" ContentType="application/vnd.openxmlformats-officedocument.presentationml.slideLayout+xml"/>
  <Override PartName="/ppt/theme/theme44.xml" ContentType="application/vnd.openxmlformats-officedocument.theme+xml"/>
  <Override PartName="/ppt/slideLayouts/slideLayout30.xml" ContentType="application/vnd.openxmlformats-officedocument.presentationml.slideLayout+xml"/>
  <Override PartName="/ppt/theme/theme4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6.xml" ContentType="application/vnd.openxmlformats-officedocument.theme+xml"/>
  <Override PartName="/ppt/theme/theme4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9" r:id="rId2"/>
    <p:sldMasterId id="2147483716" r:id="rId3"/>
    <p:sldMasterId id="2147483746" r:id="rId4"/>
    <p:sldMasterId id="2147483877" r:id="rId5"/>
    <p:sldMasterId id="2147483917" r:id="rId6"/>
    <p:sldMasterId id="2147483943" r:id="rId7"/>
    <p:sldMasterId id="2147483988" r:id="rId8"/>
    <p:sldMasterId id="2147484094" r:id="rId9"/>
    <p:sldMasterId id="2147484126" r:id="rId10"/>
    <p:sldMasterId id="2147484130" r:id="rId11"/>
    <p:sldMasterId id="2147484143" r:id="rId12"/>
    <p:sldMasterId id="2147484206" r:id="rId13"/>
    <p:sldMasterId id="2147484268" r:id="rId14"/>
    <p:sldMasterId id="2147484293" r:id="rId15"/>
    <p:sldMasterId id="2147484329" r:id="rId16"/>
    <p:sldMasterId id="2147484369" r:id="rId17"/>
    <p:sldMasterId id="2147484393" r:id="rId18"/>
    <p:sldMasterId id="2147484412" r:id="rId19"/>
    <p:sldMasterId id="2147484461" r:id="rId20"/>
    <p:sldMasterId id="2147484474" r:id="rId21"/>
    <p:sldMasterId id="2147484516" r:id="rId22"/>
    <p:sldMasterId id="2147484550" r:id="rId23"/>
    <p:sldMasterId id="2147484578" r:id="rId24"/>
    <p:sldMasterId id="2147484584" r:id="rId25"/>
    <p:sldMasterId id="2147484590" r:id="rId26"/>
    <p:sldMasterId id="2147484619" r:id="rId27"/>
    <p:sldMasterId id="2147484640" r:id="rId28"/>
    <p:sldMasterId id="2147484668" r:id="rId29"/>
    <p:sldMasterId id="2147484686" r:id="rId30"/>
    <p:sldMasterId id="2147484708" r:id="rId31"/>
    <p:sldMasterId id="2147484750" r:id="rId32"/>
    <p:sldMasterId id="2147484770" r:id="rId33"/>
    <p:sldMasterId id="2147484788" r:id="rId34"/>
    <p:sldMasterId id="2147484790" r:id="rId35"/>
    <p:sldMasterId id="2147484817" r:id="rId36"/>
    <p:sldMasterId id="2147484821" r:id="rId37"/>
    <p:sldMasterId id="2147484831" r:id="rId38"/>
    <p:sldMasterId id="2147484847" r:id="rId39"/>
    <p:sldMasterId id="2147484865" r:id="rId40"/>
    <p:sldMasterId id="2147484907" r:id="rId41"/>
    <p:sldMasterId id="2147484919" r:id="rId42"/>
    <p:sldMasterId id="2147484937" r:id="rId43"/>
    <p:sldMasterId id="2147484961" r:id="rId44"/>
    <p:sldMasterId id="2147484981" r:id="rId45"/>
    <p:sldMasterId id="2147484999" r:id="rId46"/>
  </p:sldMasterIdLst>
  <p:notesMasterIdLst>
    <p:notesMasterId r:id="rId122"/>
  </p:notesMasterIdLst>
  <p:sldIdLst>
    <p:sldId id="465" r:id="rId47"/>
    <p:sldId id="466" r:id="rId48"/>
    <p:sldId id="378" r:id="rId49"/>
    <p:sldId id="478" r:id="rId50"/>
    <p:sldId id="504" r:id="rId51"/>
    <p:sldId id="469" r:id="rId52"/>
    <p:sldId id="470" r:id="rId53"/>
    <p:sldId id="471" r:id="rId54"/>
    <p:sldId id="472" r:id="rId55"/>
    <p:sldId id="473" r:id="rId56"/>
    <p:sldId id="474" r:id="rId57"/>
    <p:sldId id="475" r:id="rId58"/>
    <p:sldId id="476" r:id="rId59"/>
    <p:sldId id="477" r:id="rId60"/>
    <p:sldId id="479" r:id="rId61"/>
    <p:sldId id="480" r:id="rId62"/>
    <p:sldId id="481" r:id="rId63"/>
    <p:sldId id="482" r:id="rId64"/>
    <p:sldId id="483" r:id="rId65"/>
    <p:sldId id="484" r:id="rId66"/>
    <p:sldId id="485" r:id="rId67"/>
    <p:sldId id="486" r:id="rId68"/>
    <p:sldId id="487" r:id="rId69"/>
    <p:sldId id="488" r:id="rId70"/>
    <p:sldId id="489" r:id="rId71"/>
    <p:sldId id="490" r:id="rId72"/>
    <p:sldId id="491" r:id="rId73"/>
    <p:sldId id="492" r:id="rId74"/>
    <p:sldId id="493" r:id="rId75"/>
    <p:sldId id="494" r:id="rId76"/>
    <p:sldId id="495" r:id="rId77"/>
    <p:sldId id="499" r:id="rId78"/>
    <p:sldId id="500" r:id="rId79"/>
    <p:sldId id="501" r:id="rId80"/>
    <p:sldId id="503" r:id="rId81"/>
    <p:sldId id="512" r:id="rId82"/>
    <p:sldId id="502" r:id="rId83"/>
    <p:sldId id="505" r:id="rId84"/>
    <p:sldId id="506" r:id="rId85"/>
    <p:sldId id="508" r:id="rId86"/>
    <p:sldId id="509" r:id="rId87"/>
    <p:sldId id="510" r:id="rId88"/>
    <p:sldId id="511" r:id="rId89"/>
    <p:sldId id="513" r:id="rId90"/>
    <p:sldId id="514" r:id="rId91"/>
    <p:sldId id="515" r:id="rId92"/>
    <p:sldId id="516" r:id="rId93"/>
    <p:sldId id="518" r:id="rId94"/>
    <p:sldId id="519" r:id="rId95"/>
    <p:sldId id="521" r:id="rId96"/>
    <p:sldId id="522" r:id="rId97"/>
    <p:sldId id="523" r:id="rId98"/>
    <p:sldId id="524" r:id="rId99"/>
    <p:sldId id="525" r:id="rId100"/>
    <p:sldId id="526" r:id="rId101"/>
    <p:sldId id="527" r:id="rId102"/>
    <p:sldId id="528" r:id="rId103"/>
    <p:sldId id="529" r:id="rId104"/>
    <p:sldId id="530" r:id="rId105"/>
    <p:sldId id="531" r:id="rId106"/>
    <p:sldId id="532" r:id="rId107"/>
    <p:sldId id="533" r:id="rId108"/>
    <p:sldId id="534" r:id="rId109"/>
    <p:sldId id="535" r:id="rId110"/>
    <p:sldId id="536" r:id="rId111"/>
    <p:sldId id="537" r:id="rId112"/>
    <p:sldId id="538" r:id="rId113"/>
    <p:sldId id="539" r:id="rId114"/>
    <p:sldId id="540" r:id="rId115"/>
    <p:sldId id="541" r:id="rId116"/>
    <p:sldId id="542" r:id="rId117"/>
    <p:sldId id="543" r:id="rId118"/>
    <p:sldId id="544" r:id="rId119"/>
    <p:sldId id="545" r:id="rId120"/>
    <p:sldId id="467" r:id="rId121"/>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C053CB-8F45-4F99-97D7-80E75AB37302}">
          <p14:sldIdLst>
            <p14:sldId id="465"/>
            <p14:sldId id="466"/>
            <p14:sldId id="378"/>
            <p14:sldId id="478"/>
            <p14:sldId id="504"/>
            <p14:sldId id="469"/>
            <p14:sldId id="470"/>
            <p14:sldId id="471"/>
            <p14:sldId id="472"/>
            <p14:sldId id="473"/>
            <p14:sldId id="474"/>
            <p14:sldId id="475"/>
            <p14:sldId id="476"/>
            <p14:sldId id="477"/>
            <p14:sldId id="479"/>
            <p14:sldId id="480"/>
            <p14:sldId id="481"/>
            <p14:sldId id="482"/>
            <p14:sldId id="483"/>
            <p14:sldId id="484"/>
            <p14:sldId id="485"/>
            <p14:sldId id="486"/>
            <p14:sldId id="487"/>
            <p14:sldId id="488"/>
            <p14:sldId id="489"/>
            <p14:sldId id="490"/>
            <p14:sldId id="491"/>
            <p14:sldId id="492"/>
            <p14:sldId id="493"/>
            <p14:sldId id="494"/>
            <p14:sldId id="495"/>
            <p14:sldId id="499"/>
            <p14:sldId id="500"/>
            <p14:sldId id="501"/>
            <p14:sldId id="503"/>
            <p14:sldId id="512"/>
            <p14:sldId id="502"/>
            <p14:sldId id="505"/>
            <p14:sldId id="506"/>
            <p14:sldId id="508"/>
            <p14:sldId id="509"/>
            <p14:sldId id="510"/>
            <p14:sldId id="511"/>
            <p14:sldId id="513"/>
            <p14:sldId id="514"/>
            <p14:sldId id="515"/>
            <p14:sldId id="516"/>
            <p14:sldId id="518"/>
            <p14:sldId id="519"/>
            <p14:sldId id="521"/>
            <p14:sldId id="522"/>
            <p14:sldId id="523"/>
            <p14:sldId id="524"/>
            <p14:sldId id="525"/>
            <p14:sldId id="526"/>
            <p14:sldId id="527"/>
            <p14:sldId id="528"/>
            <p14:sldId id="529"/>
            <p14:sldId id="530"/>
            <p14:sldId id="531"/>
            <p14:sldId id="532"/>
            <p14:sldId id="533"/>
            <p14:sldId id="534"/>
            <p14:sldId id="535"/>
            <p14:sldId id="536"/>
            <p14:sldId id="537"/>
            <p14:sldId id="538"/>
            <p14:sldId id="539"/>
            <p14:sldId id="540"/>
            <p14:sldId id="541"/>
            <p14:sldId id="542"/>
            <p14:sldId id="543"/>
            <p14:sldId id="544"/>
            <p14:sldId id="545"/>
            <p14:sldId id="4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Serra" initials="JS" lastIdx="1" clrIdx="0">
    <p:extLst>
      <p:ext uri="{19B8F6BF-5375-455C-9EA6-DF929625EA0E}">
        <p15:presenceInfo xmlns:p15="http://schemas.microsoft.com/office/powerpoint/2012/main" userId="8ac5bb8964d8f76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E6E6E6"/>
    <a:srgbClr val="505050"/>
    <a:srgbClr val="0078D7"/>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1" autoAdjust="0"/>
    <p:restoredTop sz="85281" autoAdjust="0"/>
  </p:normalViewPr>
  <p:slideViewPr>
    <p:cSldViewPr snapToGrid="0">
      <p:cViewPr varScale="1">
        <p:scale>
          <a:sx n="75" d="100"/>
          <a:sy n="75" d="100"/>
        </p:scale>
        <p:origin x="420" y="36"/>
      </p:cViewPr>
      <p:guideLst/>
    </p:cSldViewPr>
  </p:slideViewPr>
  <p:notesTextViewPr>
    <p:cViewPr>
      <p:scale>
        <a:sx n="1" d="1"/>
        <a:sy n="1" d="1"/>
      </p:scale>
      <p:origin x="0" y="0"/>
    </p:cViewPr>
  </p:notesTextViewPr>
  <p:sorterViewPr>
    <p:cViewPr varScale="1">
      <p:scale>
        <a:sx n="100" d="100"/>
        <a:sy n="100" d="100"/>
      </p:scale>
      <p:origin x="0" y="-24111"/>
    </p:cViewPr>
  </p:sorterViewPr>
  <p:notesViewPr>
    <p:cSldViewPr snapToGrid="0">
      <p:cViewPr varScale="1">
        <p:scale>
          <a:sx n="70" d="100"/>
          <a:sy n="70" d="100"/>
        </p:scale>
        <p:origin x="2466" y="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71.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 Target="slides/slide1.xml"/><Relationship Id="rId63" Type="http://schemas.openxmlformats.org/officeDocument/2006/relationships/slide" Target="slides/slide17.xml"/><Relationship Id="rId68" Type="http://schemas.openxmlformats.org/officeDocument/2006/relationships/slide" Target="slides/slide22.xml"/><Relationship Id="rId84" Type="http://schemas.openxmlformats.org/officeDocument/2006/relationships/slide" Target="slides/slide38.xml"/><Relationship Id="rId89" Type="http://schemas.openxmlformats.org/officeDocument/2006/relationships/slide" Target="slides/slide43.xml"/><Relationship Id="rId112" Type="http://schemas.openxmlformats.org/officeDocument/2006/relationships/slide" Target="slides/slide66.xml"/><Relationship Id="rId16" Type="http://schemas.openxmlformats.org/officeDocument/2006/relationships/slideMaster" Target="slideMasters/slideMaster16.xml"/><Relationship Id="rId107" Type="http://schemas.openxmlformats.org/officeDocument/2006/relationships/slide" Target="slides/slide61.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7.xml"/><Relationship Id="rId58" Type="http://schemas.openxmlformats.org/officeDocument/2006/relationships/slide" Target="slides/slide12.xml"/><Relationship Id="rId74" Type="http://schemas.openxmlformats.org/officeDocument/2006/relationships/slide" Target="slides/slide28.xml"/><Relationship Id="rId79" Type="http://schemas.openxmlformats.org/officeDocument/2006/relationships/slide" Target="slides/slide33.xml"/><Relationship Id="rId102" Type="http://schemas.openxmlformats.org/officeDocument/2006/relationships/slide" Target="slides/slide56.xml"/><Relationship Id="rId123" Type="http://schemas.openxmlformats.org/officeDocument/2006/relationships/commentAuthors" Target="commentAuthors.xml"/><Relationship Id="rId128" Type="http://schemas.microsoft.com/office/2016/11/relationships/changesInfo" Target="changesInfos/changesInfo1.xml"/><Relationship Id="rId5" Type="http://schemas.openxmlformats.org/officeDocument/2006/relationships/slideMaster" Target="slideMasters/slideMaster5.xml"/><Relationship Id="rId90" Type="http://schemas.openxmlformats.org/officeDocument/2006/relationships/slide" Target="slides/slide44.xml"/><Relationship Id="rId95" Type="http://schemas.openxmlformats.org/officeDocument/2006/relationships/slide" Target="slides/slide4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2.xml"/><Relationship Id="rId56" Type="http://schemas.openxmlformats.org/officeDocument/2006/relationships/slide" Target="slides/slide10.xml"/><Relationship Id="rId64" Type="http://schemas.openxmlformats.org/officeDocument/2006/relationships/slide" Target="slides/slide18.xml"/><Relationship Id="rId69" Type="http://schemas.openxmlformats.org/officeDocument/2006/relationships/slide" Target="slides/slide23.xml"/><Relationship Id="rId77" Type="http://schemas.openxmlformats.org/officeDocument/2006/relationships/slide" Target="slides/slide31.xml"/><Relationship Id="rId100" Type="http://schemas.openxmlformats.org/officeDocument/2006/relationships/slide" Target="slides/slide54.xml"/><Relationship Id="rId105" Type="http://schemas.openxmlformats.org/officeDocument/2006/relationships/slide" Target="slides/slide59.xml"/><Relationship Id="rId113" Type="http://schemas.openxmlformats.org/officeDocument/2006/relationships/slide" Target="slides/slide67.xml"/><Relationship Id="rId118" Type="http://schemas.openxmlformats.org/officeDocument/2006/relationships/slide" Target="slides/slide72.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5.xml"/><Relationship Id="rId72" Type="http://schemas.openxmlformats.org/officeDocument/2006/relationships/slide" Target="slides/slide26.xml"/><Relationship Id="rId80" Type="http://schemas.openxmlformats.org/officeDocument/2006/relationships/slide" Target="slides/slide34.xml"/><Relationship Id="rId85" Type="http://schemas.openxmlformats.org/officeDocument/2006/relationships/slide" Target="slides/slide39.xml"/><Relationship Id="rId93" Type="http://schemas.openxmlformats.org/officeDocument/2006/relationships/slide" Target="slides/slide47.xml"/><Relationship Id="rId98" Type="http://schemas.openxmlformats.org/officeDocument/2006/relationships/slide" Target="slides/slide52.xml"/><Relationship Id="rId121" Type="http://schemas.openxmlformats.org/officeDocument/2006/relationships/slide" Target="slides/slide7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3.xml"/><Relationship Id="rId67" Type="http://schemas.openxmlformats.org/officeDocument/2006/relationships/slide" Target="slides/slide21.xml"/><Relationship Id="rId103" Type="http://schemas.openxmlformats.org/officeDocument/2006/relationships/slide" Target="slides/slide57.xml"/><Relationship Id="rId108" Type="http://schemas.openxmlformats.org/officeDocument/2006/relationships/slide" Target="slides/slide62.xml"/><Relationship Id="rId116" Type="http://schemas.openxmlformats.org/officeDocument/2006/relationships/slide" Target="slides/slide70.xml"/><Relationship Id="rId124"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8.xml"/><Relationship Id="rId62" Type="http://schemas.openxmlformats.org/officeDocument/2006/relationships/slide" Target="slides/slide16.xml"/><Relationship Id="rId70" Type="http://schemas.openxmlformats.org/officeDocument/2006/relationships/slide" Target="slides/slide24.xml"/><Relationship Id="rId75" Type="http://schemas.openxmlformats.org/officeDocument/2006/relationships/slide" Target="slides/slide29.xml"/><Relationship Id="rId83" Type="http://schemas.openxmlformats.org/officeDocument/2006/relationships/slide" Target="slides/slide37.xml"/><Relationship Id="rId88" Type="http://schemas.openxmlformats.org/officeDocument/2006/relationships/slide" Target="slides/slide42.xml"/><Relationship Id="rId91" Type="http://schemas.openxmlformats.org/officeDocument/2006/relationships/slide" Target="slides/slide45.xml"/><Relationship Id="rId96" Type="http://schemas.openxmlformats.org/officeDocument/2006/relationships/slide" Target="slides/slide50.xml"/><Relationship Id="rId111" Type="http://schemas.openxmlformats.org/officeDocument/2006/relationships/slide" Target="slides/slide6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3.xml"/><Relationship Id="rId57" Type="http://schemas.openxmlformats.org/officeDocument/2006/relationships/slide" Target="slides/slide11.xml"/><Relationship Id="rId106" Type="http://schemas.openxmlformats.org/officeDocument/2006/relationships/slide" Target="slides/slide60.xml"/><Relationship Id="rId114" Type="http://schemas.openxmlformats.org/officeDocument/2006/relationships/slide" Target="slides/slide68.xml"/><Relationship Id="rId119" Type="http://schemas.openxmlformats.org/officeDocument/2006/relationships/slide" Target="slides/slide73.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6.xml"/><Relationship Id="rId60" Type="http://schemas.openxmlformats.org/officeDocument/2006/relationships/slide" Target="slides/slide14.xml"/><Relationship Id="rId65" Type="http://schemas.openxmlformats.org/officeDocument/2006/relationships/slide" Target="slides/slide19.xml"/><Relationship Id="rId73" Type="http://schemas.openxmlformats.org/officeDocument/2006/relationships/slide" Target="slides/slide27.xml"/><Relationship Id="rId78" Type="http://schemas.openxmlformats.org/officeDocument/2006/relationships/slide" Target="slides/slide32.xml"/><Relationship Id="rId81" Type="http://schemas.openxmlformats.org/officeDocument/2006/relationships/slide" Target="slides/slide35.xml"/><Relationship Id="rId86" Type="http://schemas.openxmlformats.org/officeDocument/2006/relationships/slide" Target="slides/slide40.xml"/><Relationship Id="rId94" Type="http://schemas.openxmlformats.org/officeDocument/2006/relationships/slide" Target="slides/slide48.xml"/><Relationship Id="rId99" Type="http://schemas.openxmlformats.org/officeDocument/2006/relationships/slide" Target="slides/slide53.xml"/><Relationship Id="rId101" Type="http://schemas.openxmlformats.org/officeDocument/2006/relationships/slide" Target="slides/slide55.xml"/><Relationship Id="rId12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3.xml"/><Relationship Id="rId34" Type="http://schemas.openxmlformats.org/officeDocument/2006/relationships/slideMaster" Target="slideMasters/slideMaster34.xml"/><Relationship Id="rId50" Type="http://schemas.openxmlformats.org/officeDocument/2006/relationships/slide" Target="slides/slide4.xml"/><Relationship Id="rId55" Type="http://schemas.openxmlformats.org/officeDocument/2006/relationships/slide" Target="slides/slide9.xml"/><Relationship Id="rId76" Type="http://schemas.openxmlformats.org/officeDocument/2006/relationships/slide" Target="slides/slide30.xml"/><Relationship Id="rId97" Type="http://schemas.openxmlformats.org/officeDocument/2006/relationships/slide" Target="slides/slide51.xml"/><Relationship Id="rId104" Type="http://schemas.openxmlformats.org/officeDocument/2006/relationships/slide" Target="slides/slide58.xml"/><Relationship Id="rId120" Type="http://schemas.openxmlformats.org/officeDocument/2006/relationships/slide" Target="slides/slide74.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25.xml"/><Relationship Id="rId92" Type="http://schemas.openxmlformats.org/officeDocument/2006/relationships/slide" Target="slides/slide46.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20.xml"/><Relationship Id="rId87" Type="http://schemas.openxmlformats.org/officeDocument/2006/relationships/slide" Target="slides/slide41.xml"/><Relationship Id="rId110" Type="http://schemas.openxmlformats.org/officeDocument/2006/relationships/slide" Target="slides/slide64.xml"/><Relationship Id="rId115" Type="http://schemas.openxmlformats.org/officeDocument/2006/relationships/slide" Target="slides/slide69.xml"/><Relationship Id="rId61" Type="http://schemas.openxmlformats.org/officeDocument/2006/relationships/slide" Target="slides/slide15.xml"/><Relationship Id="rId82"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5F32B095-0830-462C-913A-9BF315D9689B}"/>
  </pc:docChgLst>
  <pc:docChgLst>
    <pc:chgData name="James Serra" userId="8ac5bb8964d8f761" providerId="LiveId" clId="{FC310332-FC92-4ACD-81FC-0A824A7E7784}"/>
    <pc:docChg chg="addSld delSld modSld sldOrd modSection">
      <pc:chgData name="James Serra" userId="8ac5bb8964d8f761" providerId="LiveId" clId="{FC310332-FC92-4ACD-81FC-0A824A7E7784}" dt="2017-12-08T04:31:56.455" v="256" actId="2696"/>
      <pc:docMkLst>
        <pc:docMk/>
      </pc:docMkLst>
      <pc:sldChg chg="modSp modNotesTx">
        <pc:chgData name="James Serra" userId="8ac5bb8964d8f761" providerId="LiveId" clId="{FC310332-FC92-4ACD-81FC-0A824A7E7784}" dt="2017-12-07T02:59:16.403" v="45" actId="20577"/>
        <pc:sldMkLst>
          <pc:docMk/>
          <pc:sldMk cId="363822817" sldId="378"/>
        </pc:sldMkLst>
        <pc:spChg chg="mod">
          <ac:chgData name="James Serra" userId="8ac5bb8964d8f761" providerId="LiveId" clId="{FC310332-FC92-4ACD-81FC-0A824A7E7784}" dt="2017-12-07T02:56:27.143" v="21" actId="20577"/>
          <ac:spMkLst>
            <pc:docMk/>
            <pc:sldMk cId="363822817" sldId="378"/>
            <ac:spMk id="3" creationId="{00000000-0000-0000-0000-000000000000}"/>
          </ac:spMkLst>
        </pc:spChg>
      </pc:sldChg>
      <pc:sldChg chg="modSp add ord">
        <pc:chgData name="James Serra" userId="8ac5bb8964d8f761" providerId="LiveId" clId="{FC310332-FC92-4ACD-81FC-0A824A7E7784}" dt="2017-12-07T02:56:56.713" v="38" actId="20577"/>
        <pc:sldMkLst>
          <pc:docMk/>
          <pc:sldMk cId="196943824" sldId="524"/>
        </pc:sldMkLst>
        <pc:spChg chg="mod">
          <ac:chgData name="James Serra" userId="8ac5bb8964d8f761" providerId="LiveId" clId="{FC310332-FC92-4ACD-81FC-0A824A7E7784}" dt="2017-12-07T02:56:56.713" v="38" actId="20577"/>
          <ac:spMkLst>
            <pc:docMk/>
            <pc:sldMk cId="196943824" sldId="524"/>
            <ac:spMk id="2" creationId="{C24599F8-DA26-4DA2-BD3B-D3D820834660}"/>
          </ac:spMkLst>
        </pc:spChg>
      </pc:sldChg>
      <pc:sldChg chg="add">
        <pc:chgData name="James Serra" userId="8ac5bb8964d8f761" providerId="LiveId" clId="{FC310332-FC92-4ACD-81FC-0A824A7E7784}" dt="2017-12-07T02:57:48.684" v="39" actId="20577"/>
        <pc:sldMkLst>
          <pc:docMk/>
          <pc:sldMk cId="1731166559" sldId="525"/>
        </pc:sldMkLst>
      </pc:sldChg>
      <pc:sldChg chg="add">
        <pc:chgData name="James Serra" userId="8ac5bb8964d8f761" providerId="LiveId" clId="{FC310332-FC92-4ACD-81FC-0A824A7E7784}" dt="2017-12-07T02:57:48.684" v="39" actId="20577"/>
        <pc:sldMkLst>
          <pc:docMk/>
          <pc:sldMk cId="3685534420" sldId="526"/>
        </pc:sldMkLst>
      </pc:sldChg>
      <pc:sldChg chg="add">
        <pc:chgData name="James Serra" userId="8ac5bb8964d8f761" providerId="LiveId" clId="{FC310332-FC92-4ACD-81FC-0A824A7E7784}" dt="2017-12-07T02:57:48.684" v="39" actId="20577"/>
        <pc:sldMkLst>
          <pc:docMk/>
          <pc:sldMk cId="752570186" sldId="527"/>
        </pc:sldMkLst>
      </pc:sldChg>
      <pc:sldChg chg="add">
        <pc:chgData name="James Serra" userId="8ac5bb8964d8f761" providerId="LiveId" clId="{FC310332-FC92-4ACD-81FC-0A824A7E7784}" dt="2017-12-07T02:57:48.684" v="39" actId="20577"/>
        <pc:sldMkLst>
          <pc:docMk/>
          <pc:sldMk cId="418167152" sldId="528"/>
        </pc:sldMkLst>
      </pc:sldChg>
      <pc:sldChg chg="add">
        <pc:chgData name="James Serra" userId="8ac5bb8964d8f761" providerId="LiveId" clId="{FC310332-FC92-4ACD-81FC-0A824A7E7784}" dt="2017-12-07T02:57:48.684" v="39" actId="20577"/>
        <pc:sldMkLst>
          <pc:docMk/>
          <pc:sldMk cId="702657997" sldId="529"/>
        </pc:sldMkLst>
      </pc:sldChg>
      <pc:sldChg chg="add">
        <pc:chgData name="James Serra" userId="8ac5bb8964d8f761" providerId="LiveId" clId="{FC310332-FC92-4ACD-81FC-0A824A7E7784}" dt="2017-12-07T02:57:48.684" v="39" actId="20577"/>
        <pc:sldMkLst>
          <pc:docMk/>
          <pc:sldMk cId="890283182" sldId="530"/>
        </pc:sldMkLst>
      </pc:sldChg>
      <pc:sldChg chg="add">
        <pc:chgData name="James Serra" userId="8ac5bb8964d8f761" providerId="LiveId" clId="{FC310332-FC92-4ACD-81FC-0A824A7E7784}" dt="2017-12-07T02:57:48.684" v="39" actId="20577"/>
        <pc:sldMkLst>
          <pc:docMk/>
          <pc:sldMk cId="3492036152" sldId="531"/>
        </pc:sldMkLst>
      </pc:sldChg>
      <pc:sldChg chg="add">
        <pc:chgData name="James Serra" userId="8ac5bb8964d8f761" providerId="LiveId" clId="{FC310332-FC92-4ACD-81FC-0A824A7E7784}" dt="2017-12-07T02:57:48.684" v="39" actId="20577"/>
        <pc:sldMkLst>
          <pc:docMk/>
          <pc:sldMk cId="590175795" sldId="532"/>
        </pc:sldMkLst>
      </pc:sldChg>
      <pc:sldChg chg="add">
        <pc:chgData name="James Serra" userId="8ac5bb8964d8f761" providerId="LiveId" clId="{FC310332-FC92-4ACD-81FC-0A824A7E7784}" dt="2017-12-07T02:57:48.684" v="39" actId="20577"/>
        <pc:sldMkLst>
          <pc:docMk/>
          <pc:sldMk cId="1586257988" sldId="533"/>
        </pc:sldMkLst>
      </pc:sldChg>
      <pc:sldChg chg="add">
        <pc:chgData name="James Serra" userId="8ac5bb8964d8f761" providerId="LiveId" clId="{FC310332-FC92-4ACD-81FC-0A824A7E7784}" dt="2017-12-07T02:57:48.684" v="39" actId="20577"/>
        <pc:sldMkLst>
          <pc:docMk/>
          <pc:sldMk cId="2988468423" sldId="534"/>
        </pc:sldMkLst>
      </pc:sldChg>
      <pc:sldChg chg="add">
        <pc:chgData name="James Serra" userId="8ac5bb8964d8f761" providerId="LiveId" clId="{FC310332-FC92-4ACD-81FC-0A824A7E7784}" dt="2017-12-07T02:57:48.684" v="39" actId="20577"/>
        <pc:sldMkLst>
          <pc:docMk/>
          <pc:sldMk cId="2835508243" sldId="535"/>
        </pc:sldMkLst>
      </pc:sldChg>
      <pc:sldChg chg="add">
        <pc:chgData name="James Serra" userId="8ac5bb8964d8f761" providerId="LiveId" clId="{FC310332-FC92-4ACD-81FC-0A824A7E7784}" dt="2017-12-07T02:57:48.684" v="39" actId="20577"/>
        <pc:sldMkLst>
          <pc:docMk/>
          <pc:sldMk cId="967898788" sldId="536"/>
        </pc:sldMkLst>
      </pc:sldChg>
      <pc:sldChg chg="add">
        <pc:chgData name="James Serra" userId="8ac5bb8964d8f761" providerId="LiveId" clId="{FC310332-FC92-4ACD-81FC-0A824A7E7784}" dt="2017-12-07T02:57:48.684" v="39" actId="20577"/>
        <pc:sldMkLst>
          <pc:docMk/>
          <pc:sldMk cId="952054907" sldId="537"/>
        </pc:sldMkLst>
      </pc:sldChg>
      <pc:sldChg chg="add">
        <pc:chgData name="James Serra" userId="8ac5bb8964d8f761" providerId="LiveId" clId="{FC310332-FC92-4ACD-81FC-0A824A7E7784}" dt="2017-12-07T02:57:48.684" v="39" actId="20577"/>
        <pc:sldMkLst>
          <pc:docMk/>
          <pc:sldMk cId="2554204897" sldId="538"/>
        </pc:sldMkLst>
      </pc:sldChg>
      <pc:sldChg chg="add">
        <pc:chgData name="James Serra" userId="8ac5bb8964d8f761" providerId="LiveId" clId="{FC310332-FC92-4ACD-81FC-0A824A7E7784}" dt="2017-12-07T02:57:48.684" v="39" actId="20577"/>
        <pc:sldMkLst>
          <pc:docMk/>
          <pc:sldMk cId="447610472" sldId="539"/>
        </pc:sldMkLst>
      </pc:sldChg>
      <pc:sldChg chg="add">
        <pc:chgData name="James Serra" userId="8ac5bb8964d8f761" providerId="LiveId" clId="{FC310332-FC92-4ACD-81FC-0A824A7E7784}" dt="2017-12-07T02:57:48.684" v="39" actId="20577"/>
        <pc:sldMkLst>
          <pc:docMk/>
          <pc:sldMk cId="3661588972" sldId="540"/>
        </pc:sldMkLst>
      </pc:sldChg>
      <pc:sldChg chg="add">
        <pc:chgData name="James Serra" userId="8ac5bb8964d8f761" providerId="LiveId" clId="{FC310332-FC92-4ACD-81FC-0A824A7E7784}" dt="2017-12-07T02:57:48.684" v="39" actId="20577"/>
        <pc:sldMkLst>
          <pc:docMk/>
          <pc:sldMk cId="3116125775" sldId="541"/>
        </pc:sldMkLst>
      </pc:sldChg>
      <pc:sldChg chg="add">
        <pc:chgData name="James Serra" userId="8ac5bb8964d8f761" providerId="LiveId" clId="{FC310332-FC92-4ACD-81FC-0A824A7E7784}" dt="2017-12-07T02:57:48.684" v="39" actId="20577"/>
        <pc:sldMkLst>
          <pc:docMk/>
          <pc:sldMk cId="880369707" sldId="542"/>
        </pc:sldMkLst>
      </pc:sldChg>
      <pc:sldChg chg="add">
        <pc:chgData name="James Serra" userId="8ac5bb8964d8f761" providerId="LiveId" clId="{FC310332-FC92-4ACD-81FC-0A824A7E7784}" dt="2017-12-07T02:57:48.684" v="39" actId="20577"/>
        <pc:sldMkLst>
          <pc:docMk/>
          <pc:sldMk cId="1591949035" sldId="543"/>
        </pc:sldMkLst>
      </pc:sldChg>
      <pc:sldChg chg="add">
        <pc:chgData name="James Serra" userId="8ac5bb8964d8f761" providerId="LiveId" clId="{FC310332-FC92-4ACD-81FC-0A824A7E7784}" dt="2017-12-07T02:57:48.684" v="39" actId="20577"/>
        <pc:sldMkLst>
          <pc:docMk/>
          <pc:sldMk cId="1557763185" sldId="544"/>
        </pc:sldMkLst>
      </pc:sldChg>
      <pc:sldChg chg="add">
        <pc:chgData name="James Serra" userId="8ac5bb8964d8f761" providerId="LiveId" clId="{FC310332-FC92-4ACD-81FC-0A824A7E7784}" dt="2017-12-07T02:57:48.684" v="39" actId="20577"/>
        <pc:sldMkLst>
          <pc:docMk/>
          <pc:sldMk cId="2719453584" sldId="545"/>
        </pc:sldMkLst>
      </pc:sldChg>
      <pc:sldChg chg="add del">
        <pc:chgData name="James Serra" userId="8ac5bb8964d8f761" providerId="LiveId" clId="{FC310332-FC92-4ACD-81FC-0A824A7E7784}" dt="2017-12-07T02:59:01.923" v="41" actId="2696"/>
        <pc:sldMkLst>
          <pc:docMk/>
          <pc:sldMk cId="1054696955" sldId="546"/>
        </pc:sldMkLst>
      </pc:sldChg>
      <pc:sldChg chg="add del">
        <pc:chgData name="James Serra" userId="8ac5bb8964d8f761" providerId="LiveId" clId="{FC310332-FC92-4ACD-81FC-0A824A7E7784}" dt="2017-12-07T02:59:01.939" v="42" actId="2696"/>
        <pc:sldMkLst>
          <pc:docMk/>
          <pc:sldMk cId="1243017525" sldId="547"/>
        </pc:sldMkLst>
      </pc:sldChg>
      <pc:sldChg chg="add del">
        <pc:chgData name="James Serra" userId="8ac5bb8964d8f761" providerId="LiveId" clId="{FC310332-FC92-4ACD-81FC-0A824A7E7784}" dt="2017-12-07T02:59:01.955" v="43" actId="2696"/>
        <pc:sldMkLst>
          <pc:docMk/>
          <pc:sldMk cId="647868888" sldId="548"/>
        </pc:sldMkLst>
      </pc:sldChg>
      <pc:sldChg chg="add del">
        <pc:chgData name="James Serra" userId="8ac5bb8964d8f761" providerId="LiveId" clId="{FC310332-FC92-4ACD-81FC-0A824A7E7784}" dt="2017-12-07T02:59:01.955" v="44" actId="2696"/>
        <pc:sldMkLst>
          <pc:docMk/>
          <pc:sldMk cId="2028642799" sldId="549"/>
        </pc:sldMkLst>
      </pc:sldChg>
      <pc:sldChg chg="add del">
        <pc:chgData name="James Serra" userId="8ac5bb8964d8f761" providerId="LiveId" clId="{FC310332-FC92-4ACD-81FC-0A824A7E7784}" dt="2017-12-07T02:59:01.923" v="40" actId="2696"/>
        <pc:sldMkLst>
          <pc:docMk/>
          <pc:sldMk cId="1387192540" sldId="550"/>
        </pc:sldMkLst>
      </pc:sldChg>
      <pc:sldMasterChg chg="delSldLayout">
        <pc:chgData name="James Serra" userId="8ac5bb8964d8f761" providerId="LiveId" clId="{FC310332-FC92-4ACD-81FC-0A824A7E7784}" dt="2017-12-08T04:31:15.562" v="50" actId="2696"/>
        <pc:sldMasterMkLst>
          <pc:docMk/>
          <pc:sldMasterMk cId="788310367" sldId="2147483661"/>
        </pc:sldMasterMkLst>
        <pc:sldLayoutChg chg="del">
          <pc:chgData name="James Serra" userId="8ac5bb8964d8f761" providerId="LiveId" clId="{FC310332-FC92-4ACD-81FC-0A824A7E7784}" dt="2017-12-08T04:31:15.562" v="50" actId="2696"/>
          <pc:sldLayoutMkLst>
            <pc:docMk/>
            <pc:sldMasterMk cId="788310367" sldId="2147483661"/>
            <pc:sldLayoutMk cId="2123690552" sldId="2147483667"/>
          </pc:sldLayoutMkLst>
        </pc:sldLayoutChg>
        <pc:sldLayoutChg chg="del">
          <pc:chgData name="James Serra" userId="8ac5bb8964d8f761" providerId="LiveId" clId="{FC310332-FC92-4ACD-81FC-0A824A7E7784}" dt="2017-12-08T04:31:15.215" v="49" actId="2696"/>
          <pc:sldLayoutMkLst>
            <pc:docMk/>
            <pc:sldMasterMk cId="788310367" sldId="2147483661"/>
            <pc:sldLayoutMk cId="226574518" sldId="2147483668"/>
          </pc:sldLayoutMkLst>
        </pc:sldLayoutChg>
        <pc:sldLayoutChg chg="del">
          <pc:chgData name="James Serra" userId="8ac5bb8964d8f761" providerId="LiveId" clId="{FC310332-FC92-4ACD-81FC-0A824A7E7784}" dt="2017-12-08T04:31:14.862" v="48" actId="2696"/>
          <pc:sldLayoutMkLst>
            <pc:docMk/>
            <pc:sldMasterMk cId="788310367" sldId="2147483661"/>
            <pc:sldLayoutMk cId="2407554727" sldId="2147483669"/>
          </pc:sldLayoutMkLst>
        </pc:sldLayoutChg>
        <pc:sldLayoutChg chg="del">
          <pc:chgData name="James Serra" userId="8ac5bb8964d8f761" providerId="LiveId" clId="{FC310332-FC92-4ACD-81FC-0A824A7E7784}" dt="2017-12-08T04:31:14.518" v="47" actId="2696"/>
          <pc:sldLayoutMkLst>
            <pc:docMk/>
            <pc:sldMasterMk cId="788310367" sldId="2147483661"/>
            <pc:sldLayoutMk cId="1915408711" sldId="2147483674"/>
          </pc:sldLayoutMkLst>
        </pc:sldLayoutChg>
        <pc:sldLayoutChg chg="del">
          <pc:chgData name="James Serra" userId="8ac5bb8964d8f761" providerId="LiveId" clId="{FC310332-FC92-4ACD-81FC-0A824A7E7784}" dt="2017-12-08T04:31:14.145" v="46" actId="2696"/>
          <pc:sldLayoutMkLst>
            <pc:docMk/>
            <pc:sldMasterMk cId="788310367" sldId="2147483661"/>
            <pc:sldLayoutMk cId="4066872115" sldId="2147483677"/>
          </pc:sldLayoutMkLst>
        </pc:sldLayoutChg>
      </pc:sldMasterChg>
      <pc:sldMasterChg chg="delSldLayout">
        <pc:chgData name="James Serra" userId="8ac5bb8964d8f761" providerId="LiveId" clId="{FC310332-FC92-4ACD-81FC-0A824A7E7784}" dt="2017-12-08T04:31:16.242" v="52" actId="2696"/>
        <pc:sldMasterMkLst>
          <pc:docMk/>
          <pc:sldMasterMk cId="2392387122" sldId="2147483689"/>
        </pc:sldMasterMkLst>
        <pc:sldLayoutChg chg="del">
          <pc:chgData name="James Serra" userId="8ac5bb8964d8f761" providerId="LiveId" clId="{FC310332-FC92-4ACD-81FC-0A824A7E7784}" dt="2017-12-08T04:31:16.242" v="52" actId="2696"/>
          <pc:sldLayoutMkLst>
            <pc:docMk/>
            <pc:sldMasterMk cId="2392387122" sldId="2147483689"/>
            <pc:sldLayoutMk cId="2327551541" sldId="2147483695"/>
          </pc:sldLayoutMkLst>
        </pc:sldLayoutChg>
        <pc:sldLayoutChg chg="del">
          <pc:chgData name="James Serra" userId="8ac5bb8964d8f761" providerId="LiveId" clId="{FC310332-FC92-4ACD-81FC-0A824A7E7784}" dt="2017-12-08T04:31:15.894" v="51" actId="2696"/>
          <pc:sldLayoutMkLst>
            <pc:docMk/>
            <pc:sldMasterMk cId="2392387122" sldId="2147483689"/>
            <pc:sldLayoutMk cId="1941405122" sldId="2147483697"/>
          </pc:sldLayoutMkLst>
        </pc:sldLayoutChg>
      </pc:sldMasterChg>
      <pc:sldMasterChg chg="delSldLayout">
        <pc:chgData name="James Serra" userId="8ac5bb8964d8f761" providerId="LiveId" clId="{FC310332-FC92-4ACD-81FC-0A824A7E7784}" dt="2017-12-08T04:31:16.583" v="53" actId="2696"/>
        <pc:sldMasterMkLst>
          <pc:docMk/>
          <pc:sldMasterMk cId="1876739297" sldId="2147483716"/>
        </pc:sldMasterMkLst>
        <pc:sldLayoutChg chg="del">
          <pc:chgData name="James Serra" userId="8ac5bb8964d8f761" providerId="LiveId" clId="{FC310332-FC92-4ACD-81FC-0A824A7E7784}" dt="2017-12-08T04:31:16.583" v="53" actId="2696"/>
          <pc:sldLayoutMkLst>
            <pc:docMk/>
            <pc:sldMasterMk cId="1876739297" sldId="2147483716"/>
            <pc:sldLayoutMk cId="3527016983" sldId="2147483721"/>
          </pc:sldLayoutMkLst>
        </pc:sldLayoutChg>
      </pc:sldMasterChg>
      <pc:sldMasterChg chg="delSldLayout">
        <pc:chgData name="James Serra" userId="8ac5bb8964d8f761" providerId="LiveId" clId="{FC310332-FC92-4ACD-81FC-0A824A7E7784}" dt="2017-12-08T04:31:16.930" v="54" actId="2696"/>
        <pc:sldMasterMkLst>
          <pc:docMk/>
          <pc:sldMasterMk cId="3695241849" sldId="2147483746"/>
        </pc:sldMasterMkLst>
        <pc:sldLayoutChg chg="del">
          <pc:chgData name="James Serra" userId="8ac5bb8964d8f761" providerId="LiveId" clId="{FC310332-FC92-4ACD-81FC-0A824A7E7784}" dt="2017-12-08T04:31:16.930" v="54" actId="2696"/>
          <pc:sldLayoutMkLst>
            <pc:docMk/>
            <pc:sldMasterMk cId="3695241849" sldId="2147483746"/>
            <pc:sldLayoutMk cId="1710560663" sldId="2147483747"/>
          </pc:sldLayoutMkLst>
        </pc:sldLayoutChg>
      </pc:sldMasterChg>
      <pc:sldMasterChg chg="delSldLayout">
        <pc:chgData name="James Serra" userId="8ac5bb8964d8f761" providerId="LiveId" clId="{FC310332-FC92-4ACD-81FC-0A824A7E7784}" dt="2017-12-08T04:31:17.915" v="57" actId="2696"/>
        <pc:sldMasterMkLst>
          <pc:docMk/>
          <pc:sldMasterMk cId="208446038" sldId="2147483877"/>
        </pc:sldMasterMkLst>
        <pc:sldLayoutChg chg="del">
          <pc:chgData name="James Serra" userId="8ac5bb8964d8f761" providerId="LiveId" clId="{FC310332-FC92-4ACD-81FC-0A824A7E7784}" dt="2017-12-08T04:31:17.915" v="57" actId="2696"/>
          <pc:sldLayoutMkLst>
            <pc:docMk/>
            <pc:sldMasterMk cId="208446038" sldId="2147483877"/>
            <pc:sldLayoutMk cId="3246454188" sldId="2147483882"/>
          </pc:sldLayoutMkLst>
        </pc:sldLayoutChg>
        <pc:sldLayoutChg chg="del">
          <pc:chgData name="James Serra" userId="8ac5bb8964d8f761" providerId="LiveId" clId="{FC310332-FC92-4ACD-81FC-0A824A7E7784}" dt="2017-12-08T04:31:17.590" v="56" actId="2696"/>
          <pc:sldLayoutMkLst>
            <pc:docMk/>
            <pc:sldMasterMk cId="208446038" sldId="2147483877"/>
            <pc:sldLayoutMk cId="3968105390" sldId="2147483883"/>
          </pc:sldLayoutMkLst>
        </pc:sldLayoutChg>
        <pc:sldLayoutChg chg="del">
          <pc:chgData name="James Serra" userId="8ac5bb8964d8f761" providerId="LiveId" clId="{FC310332-FC92-4ACD-81FC-0A824A7E7784}" dt="2017-12-08T04:31:17.258" v="55" actId="2696"/>
          <pc:sldLayoutMkLst>
            <pc:docMk/>
            <pc:sldMasterMk cId="208446038" sldId="2147483877"/>
            <pc:sldLayoutMk cId="3471839852" sldId="2147483890"/>
          </pc:sldLayoutMkLst>
        </pc:sldLayoutChg>
      </pc:sldMasterChg>
      <pc:sldMasterChg chg="delSldLayout">
        <pc:chgData name="James Serra" userId="8ac5bb8964d8f761" providerId="LiveId" clId="{FC310332-FC92-4ACD-81FC-0A824A7E7784}" dt="2017-12-08T04:31:18.281" v="58" actId="2696"/>
        <pc:sldMasterMkLst>
          <pc:docMk/>
          <pc:sldMasterMk cId="213063543" sldId="2147484094"/>
        </pc:sldMasterMkLst>
        <pc:sldLayoutChg chg="del">
          <pc:chgData name="James Serra" userId="8ac5bb8964d8f761" providerId="LiveId" clId="{FC310332-FC92-4ACD-81FC-0A824A7E7784}" dt="2017-12-08T04:31:18.281" v="58" actId="2696"/>
          <pc:sldLayoutMkLst>
            <pc:docMk/>
            <pc:sldMasterMk cId="213063543" sldId="2147484094"/>
            <pc:sldLayoutMk cId="1137458002" sldId="2147484110"/>
          </pc:sldLayoutMkLst>
        </pc:sldLayoutChg>
      </pc:sldMasterChg>
      <pc:sldMasterChg chg="delSldLayout">
        <pc:chgData name="James Serra" userId="8ac5bb8964d8f761" providerId="LiveId" clId="{FC310332-FC92-4ACD-81FC-0A824A7E7784}" dt="2017-12-08T04:31:18.693" v="59" actId="2696"/>
        <pc:sldMasterMkLst>
          <pc:docMk/>
          <pc:sldMasterMk cId="2498282771" sldId="2147484143"/>
        </pc:sldMasterMkLst>
        <pc:sldLayoutChg chg="del">
          <pc:chgData name="James Serra" userId="8ac5bb8964d8f761" providerId="LiveId" clId="{FC310332-FC92-4ACD-81FC-0A824A7E7784}" dt="2017-12-08T04:31:18.693" v="59" actId="2696"/>
          <pc:sldLayoutMkLst>
            <pc:docMk/>
            <pc:sldMasterMk cId="2498282771" sldId="2147484143"/>
            <pc:sldLayoutMk cId="2801809778" sldId="2147484151"/>
          </pc:sldLayoutMkLst>
        </pc:sldLayoutChg>
      </pc:sldMasterChg>
      <pc:sldMasterChg chg="delSldLayout">
        <pc:chgData name="James Serra" userId="8ac5bb8964d8f761" providerId="LiveId" clId="{FC310332-FC92-4ACD-81FC-0A824A7E7784}" dt="2017-12-08T04:31:19.322" v="61" actId="2696"/>
        <pc:sldMasterMkLst>
          <pc:docMk/>
          <pc:sldMasterMk cId="506242575" sldId="2147484206"/>
        </pc:sldMasterMkLst>
        <pc:sldLayoutChg chg="del">
          <pc:chgData name="James Serra" userId="8ac5bb8964d8f761" providerId="LiveId" clId="{FC310332-FC92-4ACD-81FC-0A824A7E7784}" dt="2017-12-08T04:31:19.322" v="61" actId="2696"/>
          <pc:sldLayoutMkLst>
            <pc:docMk/>
            <pc:sldMasterMk cId="506242575" sldId="2147484206"/>
            <pc:sldLayoutMk cId="4141128538" sldId="2147484218"/>
          </pc:sldLayoutMkLst>
        </pc:sldLayoutChg>
        <pc:sldLayoutChg chg="del">
          <pc:chgData name="James Serra" userId="8ac5bb8964d8f761" providerId="LiveId" clId="{FC310332-FC92-4ACD-81FC-0A824A7E7784}" dt="2017-12-08T04:31:19.009" v="60" actId="2696"/>
          <pc:sldLayoutMkLst>
            <pc:docMk/>
            <pc:sldMasterMk cId="506242575" sldId="2147484206"/>
            <pc:sldLayoutMk cId="2566488686" sldId="2147484220"/>
          </pc:sldLayoutMkLst>
        </pc:sldLayoutChg>
      </pc:sldMasterChg>
      <pc:sldMasterChg chg="delSldLayout">
        <pc:chgData name="James Serra" userId="8ac5bb8964d8f761" providerId="LiveId" clId="{FC310332-FC92-4ACD-81FC-0A824A7E7784}" dt="2017-12-08T04:31:19.826" v="62" actId="2696"/>
        <pc:sldMasterMkLst>
          <pc:docMk/>
          <pc:sldMasterMk cId="695221866" sldId="2147484268"/>
        </pc:sldMasterMkLst>
        <pc:sldLayoutChg chg="del">
          <pc:chgData name="James Serra" userId="8ac5bb8964d8f761" providerId="LiveId" clId="{FC310332-FC92-4ACD-81FC-0A824A7E7784}" dt="2017-12-08T04:31:19.826" v="62" actId="2696"/>
          <pc:sldLayoutMkLst>
            <pc:docMk/>
            <pc:sldMasterMk cId="695221866" sldId="2147484268"/>
            <pc:sldLayoutMk cId="3348383666" sldId="2147484275"/>
          </pc:sldLayoutMkLst>
        </pc:sldLayoutChg>
      </pc:sldMasterChg>
      <pc:sldMasterChg chg="delSldLayout">
        <pc:chgData name="James Serra" userId="8ac5bb8964d8f761" providerId="LiveId" clId="{FC310332-FC92-4ACD-81FC-0A824A7E7784}" dt="2017-12-08T04:31:20.143" v="63" actId="2696"/>
        <pc:sldMasterMkLst>
          <pc:docMk/>
          <pc:sldMasterMk cId="1371992483" sldId="2147484293"/>
        </pc:sldMasterMkLst>
        <pc:sldLayoutChg chg="del">
          <pc:chgData name="James Serra" userId="8ac5bb8964d8f761" providerId="LiveId" clId="{FC310332-FC92-4ACD-81FC-0A824A7E7784}" dt="2017-12-08T04:31:20.143" v="63" actId="2696"/>
          <pc:sldLayoutMkLst>
            <pc:docMk/>
            <pc:sldMasterMk cId="1371992483" sldId="2147484293"/>
            <pc:sldLayoutMk cId="1539786931" sldId="2147484312"/>
          </pc:sldLayoutMkLst>
        </pc:sldLayoutChg>
      </pc:sldMasterChg>
      <pc:sldMasterChg chg="delSldLayout">
        <pc:chgData name="James Serra" userId="8ac5bb8964d8f761" providerId="LiveId" clId="{FC310332-FC92-4ACD-81FC-0A824A7E7784}" dt="2017-12-08T04:31:20.468" v="64" actId="2696"/>
        <pc:sldMasterMkLst>
          <pc:docMk/>
          <pc:sldMasterMk cId="3746049869" sldId="2147484412"/>
        </pc:sldMasterMkLst>
        <pc:sldLayoutChg chg="del">
          <pc:chgData name="James Serra" userId="8ac5bb8964d8f761" providerId="LiveId" clId="{FC310332-FC92-4ACD-81FC-0A824A7E7784}" dt="2017-12-08T04:31:20.468" v="64" actId="2696"/>
          <pc:sldLayoutMkLst>
            <pc:docMk/>
            <pc:sldMasterMk cId="3746049869" sldId="2147484412"/>
            <pc:sldLayoutMk cId="1996332689" sldId="2147484428"/>
          </pc:sldLayoutMkLst>
        </pc:sldLayoutChg>
      </pc:sldMasterChg>
      <pc:sldMasterChg chg="delSldLayout">
        <pc:chgData name="James Serra" userId="8ac5bb8964d8f761" providerId="LiveId" clId="{FC310332-FC92-4ACD-81FC-0A824A7E7784}" dt="2017-12-08T04:31:20.804" v="65" actId="2696"/>
        <pc:sldMasterMkLst>
          <pc:docMk/>
          <pc:sldMasterMk cId="585020833" sldId="2147484461"/>
        </pc:sldMasterMkLst>
        <pc:sldLayoutChg chg="del">
          <pc:chgData name="James Serra" userId="8ac5bb8964d8f761" providerId="LiveId" clId="{FC310332-FC92-4ACD-81FC-0A824A7E7784}" dt="2017-12-08T04:31:20.804" v="65" actId="2696"/>
          <pc:sldLayoutMkLst>
            <pc:docMk/>
            <pc:sldMasterMk cId="585020833" sldId="2147484461"/>
            <pc:sldLayoutMk cId="1747551200" sldId="2147484470"/>
          </pc:sldLayoutMkLst>
        </pc:sldLayoutChg>
      </pc:sldMasterChg>
      <pc:sldMasterChg chg="delSldLayout">
        <pc:chgData name="James Serra" userId="8ac5bb8964d8f761" providerId="LiveId" clId="{FC310332-FC92-4ACD-81FC-0A824A7E7784}" dt="2017-12-08T04:31:21.155" v="66" actId="2696"/>
        <pc:sldMasterMkLst>
          <pc:docMk/>
          <pc:sldMasterMk cId="961144061" sldId="2147484474"/>
        </pc:sldMasterMkLst>
        <pc:sldLayoutChg chg="del">
          <pc:chgData name="James Serra" userId="8ac5bb8964d8f761" providerId="LiveId" clId="{FC310332-FC92-4ACD-81FC-0A824A7E7784}" dt="2017-12-08T04:31:21.155" v="66" actId="2696"/>
          <pc:sldLayoutMkLst>
            <pc:docMk/>
            <pc:sldMasterMk cId="961144061" sldId="2147484474"/>
            <pc:sldLayoutMk cId="3635065410" sldId="2147484493"/>
          </pc:sldLayoutMkLst>
        </pc:sldLayoutChg>
      </pc:sldMasterChg>
      <pc:sldMasterChg chg="delSldLayout">
        <pc:chgData name="James Serra" userId="8ac5bb8964d8f761" providerId="LiveId" clId="{FC310332-FC92-4ACD-81FC-0A824A7E7784}" dt="2017-12-08T04:31:21.493" v="67" actId="2696"/>
        <pc:sldMasterMkLst>
          <pc:docMk/>
          <pc:sldMasterMk cId="2501462895" sldId="2147484550"/>
        </pc:sldMasterMkLst>
        <pc:sldLayoutChg chg="del">
          <pc:chgData name="James Serra" userId="8ac5bb8964d8f761" providerId="LiveId" clId="{FC310332-FC92-4ACD-81FC-0A824A7E7784}" dt="2017-12-08T04:31:21.493" v="67" actId="2696"/>
          <pc:sldLayoutMkLst>
            <pc:docMk/>
            <pc:sldMasterMk cId="2501462895" sldId="2147484550"/>
            <pc:sldLayoutMk cId="505783021" sldId="2147484567"/>
          </pc:sldLayoutMkLst>
        </pc:sldLayoutChg>
      </pc:sldMasterChg>
      <pc:sldMasterChg chg="delSldLayout">
        <pc:chgData name="James Serra" userId="8ac5bb8964d8f761" providerId="LiveId" clId="{FC310332-FC92-4ACD-81FC-0A824A7E7784}" dt="2017-12-08T04:31:22.477" v="70" actId="2696"/>
        <pc:sldMasterMkLst>
          <pc:docMk/>
          <pc:sldMasterMk cId="2932269830" sldId="2147484590"/>
        </pc:sldMasterMkLst>
        <pc:sldLayoutChg chg="del">
          <pc:chgData name="James Serra" userId="8ac5bb8964d8f761" providerId="LiveId" clId="{FC310332-FC92-4ACD-81FC-0A824A7E7784}" dt="2017-12-08T04:31:22.477" v="70" actId="2696"/>
          <pc:sldLayoutMkLst>
            <pc:docMk/>
            <pc:sldMasterMk cId="2932269830" sldId="2147484590"/>
            <pc:sldLayoutMk cId="2607050991" sldId="2147484597"/>
          </pc:sldLayoutMkLst>
        </pc:sldLayoutChg>
        <pc:sldLayoutChg chg="del">
          <pc:chgData name="James Serra" userId="8ac5bb8964d8f761" providerId="LiveId" clId="{FC310332-FC92-4ACD-81FC-0A824A7E7784}" dt="2017-12-08T04:31:22.155" v="69" actId="2696"/>
          <pc:sldLayoutMkLst>
            <pc:docMk/>
            <pc:sldMasterMk cId="2932269830" sldId="2147484590"/>
            <pc:sldLayoutMk cId="2832775973" sldId="2147484602"/>
          </pc:sldLayoutMkLst>
        </pc:sldLayoutChg>
        <pc:sldLayoutChg chg="del">
          <pc:chgData name="James Serra" userId="8ac5bb8964d8f761" providerId="LiveId" clId="{FC310332-FC92-4ACD-81FC-0A824A7E7784}" dt="2017-12-08T04:31:21.825" v="68" actId="2696"/>
          <pc:sldLayoutMkLst>
            <pc:docMk/>
            <pc:sldMasterMk cId="2932269830" sldId="2147484590"/>
            <pc:sldLayoutMk cId="1447364814" sldId="2147484608"/>
          </pc:sldLayoutMkLst>
        </pc:sldLayoutChg>
      </pc:sldMasterChg>
      <pc:sldMasterChg chg="delSldLayout">
        <pc:chgData name="James Serra" userId="8ac5bb8964d8f761" providerId="LiveId" clId="{FC310332-FC92-4ACD-81FC-0A824A7E7784}" dt="2017-12-08T04:31:22.854" v="71" actId="2696"/>
        <pc:sldMasterMkLst>
          <pc:docMk/>
          <pc:sldMasterMk cId="2557103878" sldId="2147484640"/>
        </pc:sldMasterMkLst>
        <pc:sldLayoutChg chg="del">
          <pc:chgData name="James Serra" userId="8ac5bb8964d8f761" providerId="LiveId" clId="{FC310332-FC92-4ACD-81FC-0A824A7E7784}" dt="2017-12-08T04:31:22.854" v="71" actId="2696"/>
          <pc:sldLayoutMkLst>
            <pc:docMk/>
            <pc:sldMasterMk cId="2557103878" sldId="2147484640"/>
            <pc:sldLayoutMk cId="3479091083" sldId="2147484647"/>
          </pc:sldLayoutMkLst>
        </pc:sldLayoutChg>
      </pc:sldMasterChg>
      <pc:sldMasterChg chg="delSldLayout">
        <pc:chgData name="James Serra" userId="8ac5bb8964d8f761" providerId="LiveId" clId="{FC310332-FC92-4ACD-81FC-0A824A7E7784}" dt="2017-12-08T04:31:24.462" v="72" actId="2696"/>
        <pc:sldMasterMkLst>
          <pc:docMk/>
          <pc:sldMasterMk cId="2234008002" sldId="2147484668"/>
        </pc:sldMasterMkLst>
        <pc:sldLayoutChg chg="del">
          <pc:chgData name="James Serra" userId="8ac5bb8964d8f761" providerId="LiveId" clId="{FC310332-FC92-4ACD-81FC-0A824A7E7784}" dt="2017-12-08T04:31:24.462" v="72" actId="2696"/>
          <pc:sldLayoutMkLst>
            <pc:docMk/>
            <pc:sldMasterMk cId="2234008002" sldId="2147484668"/>
            <pc:sldLayoutMk cId="2478532287" sldId="2147484670"/>
          </pc:sldLayoutMkLst>
        </pc:sldLayoutChg>
      </pc:sldMasterChg>
      <pc:sldMasterChg chg="delSldLayout">
        <pc:chgData name="James Serra" userId="8ac5bb8964d8f761" providerId="LiveId" clId="{FC310332-FC92-4ACD-81FC-0A824A7E7784}" dt="2017-12-08T04:31:24.872" v="73" actId="2696"/>
        <pc:sldMasterMkLst>
          <pc:docMk/>
          <pc:sldMasterMk cId="1405026915" sldId="2147484686"/>
        </pc:sldMasterMkLst>
        <pc:sldLayoutChg chg="del">
          <pc:chgData name="James Serra" userId="8ac5bb8964d8f761" providerId="LiveId" clId="{FC310332-FC92-4ACD-81FC-0A824A7E7784}" dt="2017-12-08T04:31:24.872" v="73" actId="2696"/>
          <pc:sldLayoutMkLst>
            <pc:docMk/>
            <pc:sldMasterMk cId="1405026915" sldId="2147484686"/>
            <pc:sldLayoutMk cId="2930971267" sldId="2147484691"/>
          </pc:sldLayoutMkLst>
        </pc:sldLayoutChg>
      </pc:sldMasterChg>
      <pc:sldMasterChg chg="delSldLayout">
        <pc:chgData name="James Serra" userId="8ac5bb8964d8f761" providerId="LiveId" clId="{FC310332-FC92-4ACD-81FC-0A824A7E7784}" dt="2017-12-08T04:31:30.692" v="92" actId="2696"/>
        <pc:sldMasterMkLst>
          <pc:docMk/>
          <pc:sldMasterMk cId="2072064229" sldId="2147484750"/>
        </pc:sldMasterMkLst>
        <pc:sldLayoutChg chg="del">
          <pc:chgData name="James Serra" userId="8ac5bb8964d8f761" providerId="LiveId" clId="{FC310332-FC92-4ACD-81FC-0A824A7E7784}" dt="2017-12-08T04:31:30.692" v="92" actId="2696"/>
          <pc:sldLayoutMkLst>
            <pc:docMk/>
            <pc:sldMasterMk cId="2072064229" sldId="2147484750"/>
            <pc:sldLayoutMk cId="702741373" sldId="2147484751"/>
          </pc:sldLayoutMkLst>
        </pc:sldLayoutChg>
        <pc:sldLayoutChg chg="del">
          <pc:chgData name="James Serra" userId="8ac5bb8964d8f761" providerId="LiveId" clId="{FC310332-FC92-4ACD-81FC-0A824A7E7784}" dt="2017-12-08T04:31:30.415" v="91" actId="2696"/>
          <pc:sldLayoutMkLst>
            <pc:docMk/>
            <pc:sldMasterMk cId="2072064229" sldId="2147484750"/>
            <pc:sldLayoutMk cId="3288063009" sldId="2147484752"/>
          </pc:sldLayoutMkLst>
        </pc:sldLayoutChg>
        <pc:sldLayoutChg chg="del">
          <pc:chgData name="James Serra" userId="8ac5bb8964d8f761" providerId="LiveId" clId="{FC310332-FC92-4ACD-81FC-0A824A7E7784}" dt="2017-12-08T04:31:30.144" v="90" actId="2696"/>
          <pc:sldLayoutMkLst>
            <pc:docMk/>
            <pc:sldMasterMk cId="2072064229" sldId="2147484750"/>
            <pc:sldLayoutMk cId="2447986636" sldId="2147484753"/>
          </pc:sldLayoutMkLst>
        </pc:sldLayoutChg>
        <pc:sldLayoutChg chg="del">
          <pc:chgData name="James Serra" userId="8ac5bb8964d8f761" providerId="LiveId" clId="{FC310332-FC92-4ACD-81FC-0A824A7E7784}" dt="2017-12-08T04:31:29.866" v="89" actId="2696"/>
          <pc:sldLayoutMkLst>
            <pc:docMk/>
            <pc:sldMasterMk cId="2072064229" sldId="2147484750"/>
            <pc:sldLayoutMk cId="211470052" sldId="2147484754"/>
          </pc:sldLayoutMkLst>
        </pc:sldLayoutChg>
        <pc:sldLayoutChg chg="del">
          <pc:chgData name="James Serra" userId="8ac5bb8964d8f761" providerId="LiveId" clId="{FC310332-FC92-4ACD-81FC-0A824A7E7784}" dt="2017-12-08T04:31:29.589" v="88" actId="2696"/>
          <pc:sldLayoutMkLst>
            <pc:docMk/>
            <pc:sldMasterMk cId="2072064229" sldId="2147484750"/>
            <pc:sldLayoutMk cId="758981582" sldId="2147484755"/>
          </pc:sldLayoutMkLst>
        </pc:sldLayoutChg>
        <pc:sldLayoutChg chg="del">
          <pc:chgData name="James Serra" userId="8ac5bb8964d8f761" providerId="LiveId" clId="{FC310332-FC92-4ACD-81FC-0A824A7E7784}" dt="2017-12-08T04:31:29.309" v="87" actId="2696"/>
          <pc:sldLayoutMkLst>
            <pc:docMk/>
            <pc:sldMasterMk cId="2072064229" sldId="2147484750"/>
            <pc:sldLayoutMk cId="2480482066" sldId="2147484756"/>
          </pc:sldLayoutMkLst>
        </pc:sldLayoutChg>
        <pc:sldLayoutChg chg="del">
          <pc:chgData name="James Serra" userId="8ac5bb8964d8f761" providerId="LiveId" clId="{FC310332-FC92-4ACD-81FC-0A824A7E7784}" dt="2017-12-08T04:31:29.027" v="86" actId="2696"/>
          <pc:sldLayoutMkLst>
            <pc:docMk/>
            <pc:sldMasterMk cId="2072064229" sldId="2147484750"/>
            <pc:sldLayoutMk cId="4150951934" sldId="2147484757"/>
          </pc:sldLayoutMkLst>
        </pc:sldLayoutChg>
        <pc:sldLayoutChg chg="del">
          <pc:chgData name="James Serra" userId="8ac5bb8964d8f761" providerId="LiveId" clId="{FC310332-FC92-4ACD-81FC-0A824A7E7784}" dt="2017-12-08T04:31:28.729" v="85" actId="2696"/>
          <pc:sldLayoutMkLst>
            <pc:docMk/>
            <pc:sldMasterMk cId="2072064229" sldId="2147484750"/>
            <pc:sldLayoutMk cId="2124132415" sldId="2147484758"/>
          </pc:sldLayoutMkLst>
        </pc:sldLayoutChg>
        <pc:sldLayoutChg chg="del">
          <pc:chgData name="James Serra" userId="8ac5bb8964d8f761" providerId="LiveId" clId="{FC310332-FC92-4ACD-81FC-0A824A7E7784}" dt="2017-12-08T04:31:28.402" v="84" actId="2696"/>
          <pc:sldLayoutMkLst>
            <pc:docMk/>
            <pc:sldMasterMk cId="2072064229" sldId="2147484750"/>
            <pc:sldLayoutMk cId="1201283428" sldId="2147484759"/>
          </pc:sldLayoutMkLst>
        </pc:sldLayoutChg>
        <pc:sldLayoutChg chg="del">
          <pc:chgData name="James Serra" userId="8ac5bb8964d8f761" providerId="LiveId" clId="{FC310332-FC92-4ACD-81FC-0A824A7E7784}" dt="2017-12-08T04:31:28.102" v="83" actId="2696"/>
          <pc:sldLayoutMkLst>
            <pc:docMk/>
            <pc:sldMasterMk cId="2072064229" sldId="2147484750"/>
            <pc:sldLayoutMk cId="2051512089" sldId="2147484760"/>
          </pc:sldLayoutMkLst>
        </pc:sldLayoutChg>
        <pc:sldLayoutChg chg="del">
          <pc:chgData name="James Serra" userId="8ac5bb8964d8f761" providerId="LiveId" clId="{FC310332-FC92-4ACD-81FC-0A824A7E7784}" dt="2017-12-08T04:31:27.808" v="82" actId="2696"/>
          <pc:sldLayoutMkLst>
            <pc:docMk/>
            <pc:sldMasterMk cId="2072064229" sldId="2147484750"/>
            <pc:sldLayoutMk cId="357005656" sldId="2147484761"/>
          </pc:sldLayoutMkLst>
        </pc:sldLayoutChg>
        <pc:sldLayoutChg chg="del">
          <pc:chgData name="James Serra" userId="8ac5bb8964d8f761" providerId="LiveId" clId="{FC310332-FC92-4ACD-81FC-0A824A7E7784}" dt="2017-12-08T04:31:27.507" v="81" actId="2696"/>
          <pc:sldLayoutMkLst>
            <pc:docMk/>
            <pc:sldMasterMk cId="2072064229" sldId="2147484750"/>
            <pc:sldLayoutMk cId="4171034672" sldId="2147484762"/>
          </pc:sldLayoutMkLst>
        </pc:sldLayoutChg>
        <pc:sldLayoutChg chg="del">
          <pc:chgData name="James Serra" userId="8ac5bb8964d8f761" providerId="LiveId" clId="{FC310332-FC92-4ACD-81FC-0A824A7E7784}" dt="2017-12-08T04:31:27.198" v="80" actId="2696"/>
          <pc:sldLayoutMkLst>
            <pc:docMk/>
            <pc:sldMasterMk cId="2072064229" sldId="2147484750"/>
            <pc:sldLayoutMk cId="3643287405" sldId="2147484763"/>
          </pc:sldLayoutMkLst>
        </pc:sldLayoutChg>
        <pc:sldLayoutChg chg="del">
          <pc:chgData name="James Serra" userId="8ac5bb8964d8f761" providerId="LiveId" clId="{FC310332-FC92-4ACD-81FC-0A824A7E7784}" dt="2017-12-08T04:31:26.869" v="79" actId="2696"/>
          <pc:sldLayoutMkLst>
            <pc:docMk/>
            <pc:sldMasterMk cId="2072064229" sldId="2147484750"/>
            <pc:sldLayoutMk cId="869091580" sldId="2147484764"/>
          </pc:sldLayoutMkLst>
        </pc:sldLayoutChg>
        <pc:sldLayoutChg chg="del">
          <pc:chgData name="James Serra" userId="8ac5bb8964d8f761" providerId="LiveId" clId="{FC310332-FC92-4ACD-81FC-0A824A7E7784}" dt="2017-12-08T04:31:26.568" v="78" actId="2696"/>
          <pc:sldLayoutMkLst>
            <pc:docMk/>
            <pc:sldMasterMk cId="2072064229" sldId="2147484750"/>
            <pc:sldLayoutMk cId="3090454775" sldId="2147484765"/>
          </pc:sldLayoutMkLst>
        </pc:sldLayoutChg>
        <pc:sldLayoutChg chg="del">
          <pc:chgData name="James Serra" userId="8ac5bb8964d8f761" providerId="LiveId" clId="{FC310332-FC92-4ACD-81FC-0A824A7E7784}" dt="2017-12-08T04:31:26.265" v="77" actId="2696"/>
          <pc:sldLayoutMkLst>
            <pc:docMk/>
            <pc:sldMasterMk cId="2072064229" sldId="2147484750"/>
            <pc:sldLayoutMk cId="2796532690" sldId="2147484766"/>
          </pc:sldLayoutMkLst>
        </pc:sldLayoutChg>
        <pc:sldLayoutChg chg="del">
          <pc:chgData name="James Serra" userId="8ac5bb8964d8f761" providerId="LiveId" clId="{FC310332-FC92-4ACD-81FC-0A824A7E7784}" dt="2017-12-08T04:31:25.956" v="76" actId="2696"/>
          <pc:sldLayoutMkLst>
            <pc:docMk/>
            <pc:sldMasterMk cId="2072064229" sldId="2147484750"/>
            <pc:sldLayoutMk cId="906373211" sldId="2147484767"/>
          </pc:sldLayoutMkLst>
        </pc:sldLayoutChg>
        <pc:sldLayoutChg chg="del">
          <pc:chgData name="James Serra" userId="8ac5bb8964d8f761" providerId="LiveId" clId="{FC310332-FC92-4ACD-81FC-0A824A7E7784}" dt="2017-12-08T04:31:25.642" v="75" actId="2696"/>
          <pc:sldLayoutMkLst>
            <pc:docMk/>
            <pc:sldMasterMk cId="2072064229" sldId="2147484750"/>
            <pc:sldLayoutMk cId="2415922593" sldId="2147484768"/>
          </pc:sldLayoutMkLst>
        </pc:sldLayoutChg>
        <pc:sldLayoutChg chg="del">
          <pc:chgData name="James Serra" userId="8ac5bb8964d8f761" providerId="LiveId" clId="{FC310332-FC92-4ACD-81FC-0A824A7E7784}" dt="2017-12-08T04:31:25.254" v="74" actId="2696"/>
          <pc:sldLayoutMkLst>
            <pc:docMk/>
            <pc:sldMasterMk cId="2072064229" sldId="2147484750"/>
            <pc:sldLayoutMk cId="1561836930" sldId="2147484769"/>
          </pc:sldLayoutMkLst>
        </pc:sldLayoutChg>
      </pc:sldMasterChg>
      <pc:sldMasterChg chg="delSldLayout">
        <pc:chgData name="James Serra" userId="8ac5bb8964d8f761" providerId="LiveId" clId="{FC310332-FC92-4ACD-81FC-0A824A7E7784}" dt="2017-12-08T04:31:35.211" v="106" actId="2696"/>
        <pc:sldMasterMkLst>
          <pc:docMk/>
          <pc:sldMasterMk cId="3378659372" sldId="2147484770"/>
        </pc:sldMasterMkLst>
        <pc:sldLayoutChg chg="del">
          <pc:chgData name="James Serra" userId="8ac5bb8964d8f761" providerId="LiveId" clId="{FC310332-FC92-4ACD-81FC-0A824A7E7784}" dt="2017-12-08T04:31:35.211" v="106" actId="2696"/>
          <pc:sldLayoutMkLst>
            <pc:docMk/>
            <pc:sldMasterMk cId="3378659372" sldId="2147484770"/>
            <pc:sldLayoutMk cId="2975292347" sldId="2147484771"/>
          </pc:sldLayoutMkLst>
        </pc:sldLayoutChg>
        <pc:sldLayoutChg chg="del">
          <pc:chgData name="James Serra" userId="8ac5bb8964d8f761" providerId="LiveId" clId="{FC310332-FC92-4ACD-81FC-0A824A7E7784}" dt="2017-12-08T04:31:34.938" v="105" actId="2696"/>
          <pc:sldLayoutMkLst>
            <pc:docMk/>
            <pc:sldMasterMk cId="3378659372" sldId="2147484770"/>
            <pc:sldLayoutMk cId="428569954" sldId="2147484772"/>
          </pc:sldLayoutMkLst>
        </pc:sldLayoutChg>
        <pc:sldLayoutChg chg="del">
          <pc:chgData name="James Serra" userId="8ac5bb8964d8f761" providerId="LiveId" clId="{FC310332-FC92-4ACD-81FC-0A824A7E7784}" dt="2017-12-08T04:31:34.658" v="104" actId="2696"/>
          <pc:sldLayoutMkLst>
            <pc:docMk/>
            <pc:sldMasterMk cId="3378659372" sldId="2147484770"/>
            <pc:sldLayoutMk cId="1561481779" sldId="2147484773"/>
          </pc:sldLayoutMkLst>
        </pc:sldLayoutChg>
        <pc:sldLayoutChg chg="del">
          <pc:chgData name="James Serra" userId="8ac5bb8964d8f761" providerId="LiveId" clId="{FC310332-FC92-4ACD-81FC-0A824A7E7784}" dt="2017-12-08T04:31:34.402" v="103" actId="2696"/>
          <pc:sldLayoutMkLst>
            <pc:docMk/>
            <pc:sldMasterMk cId="3378659372" sldId="2147484770"/>
            <pc:sldLayoutMk cId="247119959" sldId="2147484774"/>
          </pc:sldLayoutMkLst>
        </pc:sldLayoutChg>
        <pc:sldLayoutChg chg="del">
          <pc:chgData name="James Serra" userId="8ac5bb8964d8f761" providerId="LiveId" clId="{FC310332-FC92-4ACD-81FC-0A824A7E7784}" dt="2017-12-08T04:31:34.144" v="102" actId="2696"/>
          <pc:sldLayoutMkLst>
            <pc:docMk/>
            <pc:sldMasterMk cId="3378659372" sldId="2147484770"/>
            <pc:sldLayoutMk cId="1480912008" sldId="2147484775"/>
          </pc:sldLayoutMkLst>
        </pc:sldLayoutChg>
        <pc:sldLayoutChg chg="del">
          <pc:chgData name="James Serra" userId="8ac5bb8964d8f761" providerId="LiveId" clId="{FC310332-FC92-4ACD-81FC-0A824A7E7784}" dt="2017-12-08T04:31:33.518" v="101" actId="2696"/>
          <pc:sldLayoutMkLst>
            <pc:docMk/>
            <pc:sldMasterMk cId="3378659372" sldId="2147484770"/>
            <pc:sldLayoutMk cId="1414447885" sldId="2147484776"/>
          </pc:sldLayoutMkLst>
        </pc:sldLayoutChg>
        <pc:sldLayoutChg chg="del">
          <pc:chgData name="James Serra" userId="8ac5bb8964d8f761" providerId="LiveId" clId="{FC310332-FC92-4ACD-81FC-0A824A7E7784}" dt="2017-12-08T04:31:32.872" v="100" actId="2696"/>
          <pc:sldLayoutMkLst>
            <pc:docMk/>
            <pc:sldMasterMk cId="3378659372" sldId="2147484770"/>
            <pc:sldLayoutMk cId="389908507" sldId="2147484777"/>
          </pc:sldLayoutMkLst>
        </pc:sldLayoutChg>
        <pc:sldLayoutChg chg="del">
          <pc:chgData name="James Serra" userId="8ac5bb8964d8f761" providerId="LiveId" clId="{FC310332-FC92-4ACD-81FC-0A824A7E7784}" dt="2017-12-08T04:31:32.609" v="99" actId="2696"/>
          <pc:sldLayoutMkLst>
            <pc:docMk/>
            <pc:sldMasterMk cId="3378659372" sldId="2147484770"/>
            <pc:sldLayoutMk cId="193886555" sldId="2147484778"/>
          </pc:sldLayoutMkLst>
        </pc:sldLayoutChg>
        <pc:sldLayoutChg chg="del">
          <pc:chgData name="James Serra" userId="8ac5bb8964d8f761" providerId="LiveId" clId="{FC310332-FC92-4ACD-81FC-0A824A7E7784}" dt="2017-12-08T04:31:32.342" v="98" actId="2696"/>
          <pc:sldLayoutMkLst>
            <pc:docMk/>
            <pc:sldMasterMk cId="3378659372" sldId="2147484770"/>
            <pc:sldLayoutMk cId="937672691" sldId="2147484779"/>
          </pc:sldLayoutMkLst>
        </pc:sldLayoutChg>
        <pc:sldLayoutChg chg="del">
          <pc:chgData name="James Serra" userId="8ac5bb8964d8f761" providerId="LiveId" clId="{FC310332-FC92-4ACD-81FC-0A824A7E7784}" dt="2017-12-08T04:31:32.076" v="97" actId="2696"/>
          <pc:sldLayoutMkLst>
            <pc:docMk/>
            <pc:sldMasterMk cId="3378659372" sldId="2147484770"/>
            <pc:sldLayoutMk cId="203717758" sldId="2147484780"/>
          </pc:sldLayoutMkLst>
        </pc:sldLayoutChg>
        <pc:sldLayoutChg chg="del">
          <pc:chgData name="James Serra" userId="8ac5bb8964d8f761" providerId="LiveId" clId="{FC310332-FC92-4ACD-81FC-0A824A7E7784}" dt="2017-12-08T04:31:31.822" v="96" actId="2696"/>
          <pc:sldLayoutMkLst>
            <pc:docMk/>
            <pc:sldMasterMk cId="3378659372" sldId="2147484770"/>
            <pc:sldLayoutMk cId="4265113408" sldId="2147484781"/>
          </pc:sldLayoutMkLst>
        </pc:sldLayoutChg>
        <pc:sldLayoutChg chg="del">
          <pc:chgData name="James Serra" userId="8ac5bb8964d8f761" providerId="LiveId" clId="{FC310332-FC92-4ACD-81FC-0A824A7E7784}" dt="2017-12-08T04:31:31.554" v="95" actId="2696"/>
          <pc:sldLayoutMkLst>
            <pc:docMk/>
            <pc:sldMasterMk cId="3378659372" sldId="2147484770"/>
            <pc:sldLayoutMk cId="3185941615" sldId="2147484782"/>
          </pc:sldLayoutMkLst>
        </pc:sldLayoutChg>
        <pc:sldLayoutChg chg="del">
          <pc:chgData name="James Serra" userId="8ac5bb8964d8f761" providerId="LiveId" clId="{FC310332-FC92-4ACD-81FC-0A824A7E7784}" dt="2017-12-08T04:31:31.277" v="94" actId="2696"/>
          <pc:sldLayoutMkLst>
            <pc:docMk/>
            <pc:sldMasterMk cId="3378659372" sldId="2147484770"/>
            <pc:sldLayoutMk cId="2803626048" sldId="2147484784"/>
          </pc:sldLayoutMkLst>
        </pc:sldLayoutChg>
        <pc:sldLayoutChg chg="del">
          <pc:chgData name="James Serra" userId="8ac5bb8964d8f761" providerId="LiveId" clId="{FC310332-FC92-4ACD-81FC-0A824A7E7784}" dt="2017-12-08T04:31:31.009" v="93" actId="2696"/>
          <pc:sldLayoutMkLst>
            <pc:docMk/>
            <pc:sldMasterMk cId="3378659372" sldId="2147484770"/>
            <pc:sldLayoutMk cId="1259395836" sldId="2147484785"/>
          </pc:sldLayoutMkLst>
        </pc:sldLayoutChg>
      </pc:sldMasterChg>
      <pc:sldMasterChg chg="delSldLayout">
        <pc:chgData name="James Serra" userId="8ac5bb8964d8f761" providerId="LiveId" clId="{FC310332-FC92-4ACD-81FC-0A824A7E7784}" dt="2017-12-08T04:31:40.445" v="129" actId="2696"/>
        <pc:sldMasterMkLst>
          <pc:docMk/>
          <pc:sldMasterMk cId="2070795779" sldId="2147484790"/>
        </pc:sldMasterMkLst>
        <pc:sldLayoutChg chg="del">
          <pc:chgData name="James Serra" userId="8ac5bb8964d8f761" providerId="LiveId" clId="{FC310332-FC92-4ACD-81FC-0A824A7E7784}" dt="2017-12-08T04:31:40.445" v="129" actId="2696"/>
          <pc:sldLayoutMkLst>
            <pc:docMk/>
            <pc:sldMasterMk cId="2070795779" sldId="2147484790"/>
            <pc:sldLayoutMk cId="4294281000" sldId="2147484791"/>
          </pc:sldLayoutMkLst>
        </pc:sldLayoutChg>
        <pc:sldLayoutChg chg="del">
          <pc:chgData name="James Serra" userId="8ac5bb8964d8f761" providerId="LiveId" clId="{FC310332-FC92-4ACD-81FC-0A824A7E7784}" dt="2017-12-08T04:31:40.184" v="128" actId="2696"/>
          <pc:sldLayoutMkLst>
            <pc:docMk/>
            <pc:sldMasterMk cId="2070795779" sldId="2147484790"/>
            <pc:sldLayoutMk cId="476308159" sldId="2147484792"/>
          </pc:sldLayoutMkLst>
        </pc:sldLayoutChg>
        <pc:sldLayoutChg chg="del">
          <pc:chgData name="James Serra" userId="8ac5bb8964d8f761" providerId="LiveId" clId="{FC310332-FC92-4ACD-81FC-0A824A7E7784}" dt="2017-12-08T04:31:39.960" v="127" actId="2696"/>
          <pc:sldLayoutMkLst>
            <pc:docMk/>
            <pc:sldMasterMk cId="2070795779" sldId="2147484790"/>
            <pc:sldLayoutMk cId="3662415710" sldId="2147484793"/>
          </pc:sldLayoutMkLst>
        </pc:sldLayoutChg>
        <pc:sldLayoutChg chg="del">
          <pc:chgData name="James Serra" userId="8ac5bb8964d8f761" providerId="LiveId" clId="{FC310332-FC92-4ACD-81FC-0A824A7E7784}" dt="2017-12-08T04:31:39.757" v="126" actId="2696"/>
          <pc:sldLayoutMkLst>
            <pc:docMk/>
            <pc:sldMasterMk cId="2070795779" sldId="2147484790"/>
            <pc:sldLayoutMk cId="4188811776" sldId="2147484794"/>
          </pc:sldLayoutMkLst>
        </pc:sldLayoutChg>
        <pc:sldLayoutChg chg="del">
          <pc:chgData name="James Serra" userId="8ac5bb8964d8f761" providerId="LiveId" clId="{FC310332-FC92-4ACD-81FC-0A824A7E7784}" dt="2017-12-08T04:31:39.553" v="125" actId="2696"/>
          <pc:sldLayoutMkLst>
            <pc:docMk/>
            <pc:sldMasterMk cId="2070795779" sldId="2147484790"/>
            <pc:sldLayoutMk cId="4252200712" sldId="2147484795"/>
          </pc:sldLayoutMkLst>
        </pc:sldLayoutChg>
        <pc:sldLayoutChg chg="del">
          <pc:chgData name="James Serra" userId="8ac5bb8964d8f761" providerId="LiveId" clId="{FC310332-FC92-4ACD-81FC-0A824A7E7784}" dt="2017-12-08T04:31:39.341" v="124" actId="2696"/>
          <pc:sldLayoutMkLst>
            <pc:docMk/>
            <pc:sldMasterMk cId="2070795779" sldId="2147484790"/>
            <pc:sldLayoutMk cId="3413583005" sldId="2147484796"/>
          </pc:sldLayoutMkLst>
        </pc:sldLayoutChg>
        <pc:sldLayoutChg chg="del">
          <pc:chgData name="James Serra" userId="8ac5bb8964d8f761" providerId="LiveId" clId="{FC310332-FC92-4ACD-81FC-0A824A7E7784}" dt="2017-12-08T04:31:39.126" v="123" actId="2696"/>
          <pc:sldLayoutMkLst>
            <pc:docMk/>
            <pc:sldMasterMk cId="2070795779" sldId="2147484790"/>
            <pc:sldLayoutMk cId="428129355" sldId="2147484797"/>
          </pc:sldLayoutMkLst>
        </pc:sldLayoutChg>
        <pc:sldLayoutChg chg="del">
          <pc:chgData name="James Serra" userId="8ac5bb8964d8f761" providerId="LiveId" clId="{FC310332-FC92-4ACD-81FC-0A824A7E7784}" dt="2017-12-08T04:31:38.916" v="122" actId="2696"/>
          <pc:sldLayoutMkLst>
            <pc:docMk/>
            <pc:sldMasterMk cId="2070795779" sldId="2147484790"/>
            <pc:sldLayoutMk cId="3897727503" sldId="2147484798"/>
          </pc:sldLayoutMkLst>
        </pc:sldLayoutChg>
        <pc:sldLayoutChg chg="del">
          <pc:chgData name="James Serra" userId="8ac5bb8964d8f761" providerId="LiveId" clId="{FC310332-FC92-4ACD-81FC-0A824A7E7784}" dt="2017-12-08T04:31:38.704" v="121" actId="2696"/>
          <pc:sldLayoutMkLst>
            <pc:docMk/>
            <pc:sldMasterMk cId="2070795779" sldId="2147484790"/>
            <pc:sldLayoutMk cId="4208472038" sldId="2147484800"/>
          </pc:sldLayoutMkLst>
        </pc:sldLayoutChg>
        <pc:sldLayoutChg chg="del">
          <pc:chgData name="James Serra" userId="8ac5bb8964d8f761" providerId="LiveId" clId="{FC310332-FC92-4ACD-81FC-0A824A7E7784}" dt="2017-12-08T04:31:38.482" v="120" actId="2696"/>
          <pc:sldLayoutMkLst>
            <pc:docMk/>
            <pc:sldMasterMk cId="2070795779" sldId="2147484790"/>
            <pc:sldLayoutMk cId="3075928716" sldId="2147484801"/>
          </pc:sldLayoutMkLst>
        </pc:sldLayoutChg>
        <pc:sldLayoutChg chg="del">
          <pc:chgData name="James Serra" userId="8ac5bb8964d8f761" providerId="LiveId" clId="{FC310332-FC92-4ACD-81FC-0A824A7E7784}" dt="2017-12-08T04:31:38.264" v="119" actId="2696"/>
          <pc:sldLayoutMkLst>
            <pc:docMk/>
            <pc:sldMasterMk cId="2070795779" sldId="2147484790"/>
            <pc:sldLayoutMk cId="2385467705" sldId="2147484802"/>
          </pc:sldLayoutMkLst>
        </pc:sldLayoutChg>
        <pc:sldLayoutChg chg="del">
          <pc:chgData name="James Serra" userId="8ac5bb8964d8f761" providerId="LiveId" clId="{FC310332-FC92-4ACD-81FC-0A824A7E7784}" dt="2017-12-08T04:31:38.044" v="118" actId="2696"/>
          <pc:sldLayoutMkLst>
            <pc:docMk/>
            <pc:sldMasterMk cId="2070795779" sldId="2147484790"/>
            <pc:sldLayoutMk cId="4079860337" sldId="2147484803"/>
          </pc:sldLayoutMkLst>
        </pc:sldLayoutChg>
        <pc:sldLayoutChg chg="del">
          <pc:chgData name="James Serra" userId="8ac5bb8964d8f761" providerId="LiveId" clId="{FC310332-FC92-4ACD-81FC-0A824A7E7784}" dt="2017-12-08T04:31:37.821" v="117" actId="2696"/>
          <pc:sldLayoutMkLst>
            <pc:docMk/>
            <pc:sldMasterMk cId="2070795779" sldId="2147484790"/>
            <pc:sldLayoutMk cId="831654641" sldId="2147484804"/>
          </pc:sldLayoutMkLst>
        </pc:sldLayoutChg>
        <pc:sldLayoutChg chg="del">
          <pc:chgData name="James Serra" userId="8ac5bb8964d8f761" providerId="LiveId" clId="{FC310332-FC92-4ACD-81FC-0A824A7E7784}" dt="2017-12-08T04:31:37.597" v="116" actId="2696"/>
          <pc:sldLayoutMkLst>
            <pc:docMk/>
            <pc:sldMasterMk cId="2070795779" sldId="2147484790"/>
            <pc:sldLayoutMk cId="1928754868" sldId="2147484805"/>
          </pc:sldLayoutMkLst>
        </pc:sldLayoutChg>
        <pc:sldLayoutChg chg="del">
          <pc:chgData name="James Serra" userId="8ac5bb8964d8f761" providerId="LiveId" clId="{FC310332-FC92-4ACD-81FC-0A824A7E7784}" dt="2017-12-08T04:31:37.361" v="115" actId="2696"/>
          <pc:sldLayoutMkLst>
            <pc:docMk/>
            <pc:sldMasterMk cId="2070795779" sldId="2147484790"/>
            <pc:sldLayoutMk cId="564948387" sldId="2147484806"/>
          </pc:sldLayoutMkLst>
        </pc:sldLayoutChg>
        <pc:sldLayoutChg chg="del">
          <pc:chgData name="James Serra" userId="8ac5bb8964d8f761" providerId="LiveId" clId="{FC310332-FC92-4ACD-81FC-0A824A7E7784}" dt="2017-12-08T04:31:37.132" v="114" actId="2696"/>
          <pc:sldLayoutMkLst>
            <pc:docMk/>
            <pc:sldMasterMk cId="2070795779" sldId="2147484790"/>
            <pc:sldLayoutMk cId="2097278817" sldId="2147484807"/>
          </pc:sldLayoutMkLst>
        </pc:sldLayoutChg>
        <pc:sldLayoutChg chg="del">
          <pc:chgData name="James Serra" userId="8ac5bb8964d8f761" providerId="LiveId" clId="{FC310332-FC92-4ACD-81FC-0A824A7E7784}" dt="2017-12-08T04:31:36.904" v="113" actId="2696"/>
          <pc:sldLayoutMkLst>
            <pc:docMk/>
            <pc:sldMasterMk cId="2070795779" sldId="2147484790"/>
            <pc:sldLayoutMk cId="3745728195" sldId="2147484808"/>
          </pc:sldLayoutMkLst>
        </pc:sldLayoutChg>
        <pc:sldLayoutChg chg="del">
          <pc:chgData name="James Serra" userId="8ac5bb8964d8f761" providerId="LiveId" clId="{FC310332-FC92-4ACD-81FC-0A824A7E7784}" dt="2017-12-08T04:31:36.660" v="112" actId="2696"/>
          <pc:sldLayoutMkLst>
            <pc:docMk/>
            <pc:sldMasterMk cId="2070795779" sldId="2147484790"/>
            <pc:sldLayoutMk cId="3802838677" sldId="2147484809"/>
          </pc:sldLayoutMkLst>
        </pc:sldLayoutChg>
        <pc:sldLayoutChg chg="del">
          <pc:chgData name="James Serra" userId="8ac5bb8964d8f761" providerId="LiveId" clId="{FC310332-FC92-4ACD-81FC-0A824A7E7784}" dt="2017-12-08T04:31:36.423" v="111" actId="2696"/>
          <pc:sldLayoutMkLst>
            <pc:docMk/>
            <pc:sldMasterMk cId="2070795779" sldId="2147484790"/>
            <pc:sldLayoutMk cId="1537312159" sldId="2147484810"/>
          </pc:sldLayoutMkLst>
        </pc:sldLayoutChg>
        <pc:sldLayoutChg chg="del">
          <pc:chgData name="James Serra" userId="8ac5bb8964d8f761" providerId="LiveId" clId="{FC310332-FC92-4ACD-81FC-0A824A7E7784}" dt="2017-12-08T04:31:36.182" v="110" actId="2696"/>
          <pc:sldLayoutMkLst>
            <pc:docMk/>
            <pc:sldMasterMk cId="2070795779" sldId="2147484790"/>
            <pc:sldLayoutMk cId="3467402428" sldId="2147484811"/>
          </pc:sldLayoutMkLst>
        </pc:sldLayoutChg>
        <pc:sldLayoutChg chg="del">
          <pc:chgData name="James Serra" userId="8ac5bb8964d8f761" providerId="LiveId" clId="{FC310332-FC92-4ACD-81FC-0A824A7E7784}" dt="2017-12-08T04:31:35.943" v="109" actId="2696"/>
          <pc:sldLayoutMkLst>
            <pc:docMk/>
            <pc:sldMasterMk cId="2070795779" sldId="2147484790"/>
            <pc:sldLayoutMk cId="2083539304" sldId="2147484812"/>
          </pc:sldLayoutMkLst>
        </pc:sldLayoutChg>
        <pc:sldLayoutChg chg="del">
          <pc:chgData name="James Serra" userId="8ac5bb8964d8f761" providerId="LiveId" clId="{FC310332-FC92-4ACD-81FC-0A824A7E7784}" dt="2017-12-08T04:31:35.699" v="108" actId="2696"/>
          <pc:sldLayoutMkLst>
            <pc:docMk/>
            <pc:sldMasterMk cId="2070795779" sldId="2147484790"/>
            <pc:sldLayoutMk cId="4161185885" sldId="2147484813"/>
          </pc:sldLayoutMkLst>
        </pc:sldLayoutChg>
        <pc:sldLayoutChg chg="del">
          <pc:chgData name="James Serra" userId="8ac5bb8964d8f761" providerId="LiveId" clId="{FC310332-FC92-4ACD-81FC-0A824A7E7784}" dt="2017-12-08T04:31:35.450" v="107" actId="2696"/>
          <pc:sldLayoutMkLst>
            <pc:docMk/>
            <pc:sldMasterMk cId="2070795779" sldId="2147484790"/>
            <pc:sldLayoutMk cId="1098427394" sldId="2147484814"/>
          </pc:sldLayoutMkLst>
        </pc:sldLayoutChg>
      </pc:sldMasterChg>
      <pc:sldMasterChg chg="delSldLayout">
        <pc:chgData name="James Serra" userId="8ac5bb8964d8f761" providerId="LiveId" clId="{FC310332-FC92-4ACD-81FC-0A824A7E7784}" dt="2017-12-08T04:31:40.844" v="131" actId="2696"/>
        <pc:sldMasterMkLst>
          <pc:docMk/>
          <pc:sldMasterMk cId="3843691583" sldId="2147484817"/>
        </pc:sldMasterMkLst>
        <pc:sldLayoutChg chg="del">
          <pc:chgData name="James Serra" userId="8ac5bb8964d8f761" providerId="LiveId" clId="{FC310332-FC92-4ACD-81FC-0A824A7E7784}" dt="2017-12-08T04:31:40.844" v="131" actId="2696"/>
          <pc:sldLayoutMkLst>
            <pc:docMk/>
            <pc:sldMasterMk cId="3843691583" sldId="2147484817"/>
            <pc:sldLayoutMk cId="2481538536" sldId="2147484819"/>
          </pc:sldLayoutMkLst>
        </pc:sldLayoutChg>
        <pc:sldLayoutChg chg="del">
          <pc:chgData name="James Serra" userId="8ac5bb8964d8f761" providerId="LiveId" clId="{FC310332-FC92-4ACD-81FC-0A824A7E7784}" dt="2017-12-08T04:31:40.648" v="130" actId="2696"/>
          <pc:sldLayoutMkLst>
            <pc:docMk/>
            <pc:sldMasterMk cId="3843691583" sldId="2147484817"/>
            <pc:sldLayoutMk cId="4090986397" sldId="2147484820"/>
          </pc:sldLayoutMkLst>
        </pc:sldLayoutChg>
      </pc:sldMasterChg>
      <pc:sldMasterChg chg="delSldLayout">
        <pc:chgData name="James Serra" userId="8ac5bb8964d8f761" providerId="LiveId" clId="{FC310332-FC92-4ACD-81FC-0A824A7E7784}" dt="2017-12-08T04:31:41.630" v="135" actId="2696"/>
        <pc:sldMasterMkLst>
          <pc:docMk/>
          <pc:sldMasterMk cId="847930912" sldId="2147484821"/>
        </pc:sldMasterMkLst>
        <pc:sldLayoutChg chg="del">
          <pc:chgData name="James Serra" userId="8ac5bb8964d8f761" providerId="LiveId" clId="{FC310332-FC92-4ACD-81FC-0A824A7E7784}" dt="2017-12-08T04:31:41.630" v="135" actId="2696"/>
          <pc:sldLayoutMkLst>
            <pc:docMk/>
            <pc:sldMasterMk cId="847930912" sldId="2147484821"/>
            <pc:sldLayoutMk cId="3031343947" sldId="2147484822"/>
          </pc:sldLayoutMkLst>
        </pc:sldLayoutChg>
        <pc:sldLayoutChg chg="del">
          <pc:chgData name="James Serra" userId="8ac5bb8964d8f761" providerId="LiveId" clId="{FC310332-FC92-4ACD-81FC-0A824A7E7784}" dt="2017-12-08T04:31:41.438" v="134" actId="2696"/>
          <pc:sldLayoutMkLst>
            <pc:docMk/>
            <pc:sldMasterMk cId="847930912" sldId="2147484821"/>
            <pc:sldLayoutMk cId="1000266503" sldId="2147484827"/>
          </pc:sldLayoutMkLst>
        </pc:sldLayoutChg>
        <pc:sldLayoutChg chg="del">
          <pc:chgData name="James Serra" userId="8ac5bb8964d8f761" providerId="LiveId" clId="{FC310332-FC92-4ACD-81FC-0A824A7E7784}" dt="2017-12-08T04:31:41.244" v="133" actId="2696"/>
          <pc:sldLayoutMkLst>
            <pc:docMk/>
            <pc:sldMasterMk cId="847930912" sldId="2147484821"/>
            <pc:sldLayoutMk cId="3230729777" sldId="2147484829"/>
          </pc:sldLayoutMkLst>
        </pc:sldLayoutChg>
        <pc:sldLayoutChg chg="del">
          <pc:chgData name="James Serra" userId="8ac5bb8964d8f761" providerId="LiveId" clId="{FC310332-FC92-4ACD-81FC-0A824A7E7784}" dt="2017-12-08T04:31:41.043" v="132" actId="2696"/>
          <pc:sldLayoutMkLst>
            <pc:docMk/>
            <pc:sldMasterMk cId="847930912" sldId="2147484821"/>
            <pc:sldLayoutMk cId="3521239935" sldId="2147484830"/>
          </pc:sldLayoutMkLst>
        </pc:sldLayoutChg>
      </pc:sldMasterChg>
      <pc:sldMasterChg chg="delSldLayout">
        <pc:chgData name="James Serra" userId="8ac5bb8964d8f761" providerId="LiveId" clId="{FC310332-FC92-4ACD-81FC-0A824A7E7784}" dt="2017-12-08T04:31:44.362" v="146" actId="2696"/>
        <pc:sldMasterMkLst>
          <pc:docMk/>
          <pc:sldMasterMk cId="3415721653" sldId="2147484831"/>
        </pc:sldMasterMkLst>
        <pc:sldLayoutChg chg="del">
          <pc:chgData name="James Serra" userId="8ac5bb8964d8f761" providerId="LiveId" clId="{FC310332-FC92-4ACD-81FC-0A824A7E7784}" dt="2017-12-08T04:31:44.362" v="146" actId="2696"/>
          <pc:sldLayoutMkLst>
            <pc:docMk/>
            <pc:sldMasterMk cId="3415721653" sldId="2147484831"/>
            <pc:sldLayoutMk cId="3196447655" sldId="2147484832"/>
          </pc:sldLayoutMkLst>
        </pc:sldLayoutChg>
        <pc:sldLayoutChg chg="del">
          <pc:chgData name="James Serra" userId="8ac5bb8964d8f761" providerId="LiveId" clId="{FC310332-FC92-4ACD-81FC-0A824A7E7784}" dt="2017-12-08T04:31:44.186" v="145" actId="2696"/>
          <pc:sldLayoutMkLst>
            <pc:docMk/>
            <pc:sldMasterMk cId="3415721653" sldId="2147484831"/>
            <pc:sldLayoutMk cId="1260090242" sldId="2147484833"/>
          </pc:sldLayoutMkLst>
        </pc:sldLayoutChg>
        <pc:sldLayoutChg chg="del">
          <pc:chgData name="James Serra" userId="8ac5bb8964d8f761" providerId="LiveId" clId="{FC310332-FC92-4ACD-81FC-0A824A7E7784}" dt="2017-12-08T04:31:44.034" v="144" actId="2696"/>
          <pc:sldLayoutMkLst>
            <pc:docMk/>
            <pc:sldMasterMk cId="3415721653" sldId="2147484831"/>
            <pc:sldLayoutMk cId="4100235325" sldId="2147484835"/>
          </pc:sldLayoutMkLst>
        </pc:sldLayoutChg>
        <pc:sldLayoutChg chg="del">
          <pc:chgData name="James Serra" userId="8ac5bb8964d8f761" providerId="LiveId" clId="{FC310332-FC92-4ACD-81FC-0A824A7E7784}" dt="2017-12-08T04:31:43.877" v="143" actId="2696"/>
          <pc:sldLayoutMkLst>
            <pc:docMk/>
            <pc:sldMasterMk cId="3415721653" sldId="2147484831"/>
            <pc:sldLayoutMk cId="2558300279" sldId="2147484836"/>
          </pc:sldLayoutMkLst>
        </pc:sldLayoutChg>
        <pc:sldLayoutChg chg="del">
          <pc:chgData name="James Serra" userId="8ac5bb8964d8f761" providerId="LiveId" clId="{FC310332-FC92-4ACD-81FC-0A824A7E7784}" dt="2017-12-08T04:31:43.300" v="142" actId="2696"/>
          <pc:sldLayoutMkLst>
            <pc:docMk/>
            <pc:sldMasterMk cId="3415721653" sldId="2147484831"/>
            <pc:sldLayoutMk cId="2789438855" sldId="2147484837"/>
          </pc:sldLayoutMkLst>
        </pc:sldLayoutChg>
        <pc:sldLayoutChg chg="del">
          <pc:chgData name="James Serra" userId="8ac5bb8964d8f761" providerId="LiveId" clId="{FC310332-FC92-4ACD-81FC-0A824A7E7784}" dt="2017-12-08T04:31:42.771" v="141" actId="2696"/>
          <pc:sldLayoutMkLst>
            <pc:docMk/>
            <pc:sldMasterMk cId="3415721653" sldId="2147484831"/>
            <pc:sldLayoutMk cId="4109647502" sldId="2147484838"/>
          </pc:sldLayoutMkLst>
        </pc:sldLayoutChg>
        <pc:sldLayoutChg chg="del">
          <pc:chgData name="James Serra" userId="8ac5bb8964d8f761" providerId="LiveId" clId="{FC310332-FC92-4ACD-81FC-0A824A7E7784}" dt="2017-12-08T04:31:42.580" v="140" actId="2696"/>
          <pc:sldLayoutMkLst>
            <pc:docMk/>
            <pc:sldMasterMk cId="3415721653" sldId="2147484831"/>
            <pc:sldLayoutMk cId="3891102022" sldId="2147484840"/>
          </pc:sldLayoutMkLst>
        </pc:sldLayoutChg>
        <pc:sldLayoutChg chg="del">
          <pc:chgData name="James Serra" userId="8ac5bb8964d8f761" providerId="LiveId" clId="{FC310332-FC92-4ACD-81FC-0A824A7E7784}" dt="2017-12-08T04:31:42.384" v="139" actId="2696"/>
          <pc:sldLayoutMkLst>
            <pc:docMk/>
            <pc:sldMasterMk cId="3415721653" sldId="2147484831"/>
            <pc:sldLayoutMk cId="2891318265" sldId="2147484841"/>
          </pc:sldLayoutMkLst>
        </pc:sldLayoutChg>
        <pc:sldLayoutChg chg="del">
          <pc:chgData name="James Serra" userId="8ac5bb8964d8f761" providerId="LiveId" clId="{FC310332-FC92-4ACD-81FC-0A824A7E7784}" dt="2017-12-08T04:31:42.200" v="138" actId="2696"/>
          <pc:sldLayoutMkLst>
            <pc:docMk/>
            <pc:sldMasterMk cId="3415721653" sldId="2147484831"/>
            <pc:sldLayoutMk cId="1017682324" sldId="2147484842"/>
          </pc:sldLayoutMkLst>
        </pc:sldLayoutChg>
        <pc:sldLayoutChg chg="del">
          <pc:chgData name="James Serra" userId="8ac5bb8964d8f761" providerId="LiveId" clId="{FC310332-FC92-4ACD-81FC-0A824A7E7784}" dt="2017-12-08T04:31:42.013" v="137" actId="2696"/>
          <pc:sldLayoutMkLst>
            <pc:docMk/>
            <pc:sldMasterMk cId="3415721653" sldId="2147484831"/>
            <pc:sldLayoutMk cId="3166773477" sldId="2147484843"/>
          </pc:sldLayoutMkLst>
        </pc:sldLayoutChg>
        <pc:sldLayoutChg chg="del">
          <pc:chgData name="James Serra" userId="8ac5bb8964d8f761" providerId="LiveId" clId="{FC310332-FC92-4ACD-81FC-0A824A7E7784}" dt="2017-12-08T04:31:41.825" v="136" actId="2696"/>
          <pc:sldLayoutMkLst>
            <pc:docMk/>
            <pc:sldMasterMk cId="3415721653" sldId="2147484831"/>
            <pc:sldLayoutMk cId="4141715331" sldId="2147484846"/>
          </pc:sldLayoutMkLst>
        </pc:sldLayoutChg>
      </pc:sldMasterChg>
      <pc:sldMasterChg chg="delSldLayout">
        <pc:chgData name="James Serra" userId="8ac5bb8964d8f761" providerId="LiveId" clId="{FC310332-FC92-4ACD-81FC-0A824A7E7784}" dt="2017-12-08T04:31:46.742" v="162" actId="2696"/>
        <pc:sldMasterMkLst>
          <pc:docMk/>
          <pc:sldMasterMk cId="1541415088" sldId="2147484847"/>
        </pc:sldMasterMkLst>
        <pc:sldLayoutChg chg="del">
          <pc:chgData name="James Serra" userId="8ac5bb8964d8f761" providerId="LiveId" clId="{FC310332-FC92-4ACD-81FC-0A824A7E7784}" dt="2017-12-08T04:31:46.742" v="162" actId="2696"/>
          <pc:sldLayoutMkLst>
            <pc:docMk/>
            <pc:sldMasterMk cId="1541415088" sldId="2147484847"/>
            <pc:sldLayoutMk cId="1795478720" sldId="2147484848"/>
          </pc:sldLayoutMkLst>
        </pc:sldLayoutChg>
        <pc:sldLayoutChg chg="del">
          <pc:chgData name="James Serra" userId="8ac5bb8964d8f761" providerId="LiveId" clId="{FC310332-FC92-4ACD-81FC-0A824A7E7784}" dt="2017-12-08T04:31:46.603" v="161" actId="2696"/>
          <pc:sldLayoutMkLst>
            <pc:docMk/>
            <pc:sldMasterMk cId="1541415088" sldId="2147484847"/>
            <pc:sldLayoutMk cId="522007798" sldId="2147484849"/>
          </pc:sldLayoutMkLst>
        </pc:sldLayoutChg>
        <pc:sldLayoutChg chg="del">
          <pc:chgData name="James Serra" userId="8ac5bb8964d8f761" providerId="LiveId" clId="{FC310332-FC92-4ACD-81FC-0A824A7E7784}" dt="2017-12-08T04:31:46.463" v="160" actId="2696"/>
          <pc:sldLayoutMkLst>
            <pc:docMk/>
            <pc:sldMasterMk cId="1541415088" sldId="2147484847"/>
            <pc:sldLayoutMk cId="717727074" sldId="2147484850"/>
          </pc:sldLayoutMkLst>
        </pc:sldLayoutChg>
        <pc:sldLayoutChg chg="del">
          <pc:chgData name="James Serra" userId="8ac5bb8964d8f761" providerId="LiveId" clId="{FC310332-FC92-4ACD-81FC-0A824A7E7784}" dt="2017-12-08T04:31:46.322" v="159" actId="2696"/>
          <pc:sldLayoutMkLst>
            <pc:docMk/>
            <pc:sldMasterMk cId="1541415088" sldId="2147484847"/>
            <pc:sldLayoutMk cId="2235447806" sldId="2147484851"/>
          </pc:sldLayoutMkLst>
        </pc:sldLayoutChg>
        <pc:sldLayoutChg chg="del">
          <pc:chgData name="James Serra" userId="8ac5bb8964d8f761" providerId="LiveId" clId="{FC310332-FC92-4ACD-81FC-0A824A7E7784}" dt="2017-12-08T04:31:46.188" v="158" actId="2696"/>
          <pc:sldLayoutMkLst>
            <pc:docMk/>
            <pc:sldMasterMk cId="1541415088" sldId="2147484847"/>
            <pc:sldLayoutMk cId="36203183" sldId="2147484852"/>
          </pc:sldLayoutMkLst>
        </pc:sldLayoutChg>
        <pc:sldLayoutChg chg="del">
          <pc:chgData name="James Serra" userId="8ac5bb8964d8f761" providerId="LiveId" clId="{FC310332-FC92-4ACD-81FC-0A824A7E7784}" dt="2017-12-08T04:31:46.047" v="157" actId="2696"/>
          <pc:sldLayoutMkLst>
            <pc:docMk/>
            <pc:sldMasterMk cId="1541415088" sldId="2147484847"/>
            <pc:sldLayoutMk cId="575688867" sldId="2147484853"/>
          </pc:sldLayoutMkLst>
        </pc:sldLayoutChg>
        <pc:sldLayoutChg chg="del">
          <pc:chgData name="James Serra" userId="8ac5bb8964d8f761" providerId="LiveId" clId="{FC310332-FC92-4ACD-81FC-0A824A7E7784}" dt="2017-12-08T04:31:45.902" v="156" actId="2696"/>
          <pc:sldLayoutMkLst>
            <pc:docMk/>
            <pc:sldMasterMk cId="1541415088" sldId="2147484847"/>
            <pc:sldLayoutMk cId="2388495048" sldId="2147484854"/>
          </pc:sldLayoutMkLst>
        </pc:sldLayoutChg>
        <pc:sldLayoutChg chg="del">
          <pc:chgData name="James Serra" userId="8ac5bb8964d8f761" providerId="LiveId" clId="{FC310332-FC92-4ACD-81FC-0A824A7E7784}" dt="2017-12-08T04:31:45.736" v="155" actId="2696"/>
          <pc:sldLayoutMkLst>
            <pc:docMk/>
            <pc:sldMasterMk cId="1541415088" sldId="2147484847"/>
            <pc:sldLayoutMk cId="3487681603" sldId="2147484855"/>
          </pc:sldLayoutMkLst>
        </pc:sldLayoutChg>
        <pc:sldLayoutChg chg="del">
          <pc:chgData name="James Serra" userId="8ac5bb8964d8f761" providerId="LiveId" clId="{FC310332-FC92-4ACD-81FC-0A824A7E7784}" dt="2017-12-08T04:31:45.596" v="154" actId="2696"/>
          <pc:sldLayoutMkLst>
            <pc:docMk/>
            <pc:sldMasterMk cId="1541415088" sldId="2147484847"/>
            <pc:sldLayoutMk cId="276093605" sldId="2147484856"/>
          </pc:sldLayoutMkLst>
        </pc:sldLayoutChg>
        <pc:sldLayoutChg chg="del">
          <pc:chgData name="James Serra" userId="8ac5bb8964d8f761" providerId="LiveId" clId="{FC310332-FC92-4ACD-81FC-0A824A7E7784}" dt="2017-12-08T04:31:45.412" v="153" actId="2696"/>
          <pc:sldLayoutMkLst>
            <pc:docMk/>
            <pc:sldMasterMk cId="1541415088" sldId="2147484847"/>
            <pc:sldLayoutMk cId="4063396734" sldId="2147484857"/>
          </pc:sldLayoutMkLst>
        </pc:sldLayoutChg>
        <pc:sldLayoutChg chg="del">
          <pc:chgData name="James Serra" userId="8ac5bb8964d8f761" providerId="LiveId" clId="{FC310332-FC92-4ACD-81FC-0A824A7E7784}" dt="2017-12-08T04:31:45.267" v="152" actId="2696"/>
          <pc:sldLayoutMkLst>
            <pc:docMk/>
            <pc:sldMasterMk cId="1541415088" sldId="2147484847"/>
            <pc:sldLayoutMk cId="3482789216" sldId="2147484858"/>
          </pc:sldLayoutMkLst>
        </pc:sldLayoutChg>
        <pc:sldLayoutChg chg="del">
          <pc:chgData name="James Serra" userId="8ac5bb8964d8f761" providerId="LiveId" clId="{FC310332-FC92-4ACD-81FC-0A824A7E7784}" dt="2017-12-08T04:31:45.123" v="151" actId="2696"/>
          <pc:sldLayoutMkLst>
            <pc:docMk/>
            <pc:sldMasterMk cId="1541415088" sldId="2147484847"/>
            <pc:sldLayoutMk cId="2312758115" sldId="2147484859"/>
          </pc:sldLayoutMkLst>
        </pc:sldLayoutChg>
        <pc:sldLayoutChg chg="del">
          <pc:chgData name="James Serra" userId="8ac5bb8964d8f761" providerId="LiveId" clId="{FC310332-FC92-4ACD-81FC-0A824A7E7784}" dt="2017-12-08T04:31:44.971" v="150" actId="2696"/>
          <pc:sldLayoutMkLst>
            <pc:docMk/>
            <pc:sldMasterMk cId="1541415088" sldId="2147484847"/>
            <pc:sldLayoutMk cId="981516848" sldId="2147484860"/>
          </pc:sldLayoutMkLst>
        </pc:sldLayoutChg>
        <pc:sldLayoutChg chg="del">
          <pc:chgData name="James Serra" userId="8ac5bb8964d8f761" providerId="LiveId" clId="{FC310332-FC92-4ACD-81FC-0A824A7E7784}" dt="2017-12-08T04:31:44.826" v="149" actId="2696"/>
          <pc:sldLayoutMkLst>
            <pc:docMk/>
            <pc:sldMasterMk cId="1541415088" sldId="2147484847"/>
            <pc:sldLayoutMk cId="3926403549" sldId="2147484861"/>
          </pc:sldLayoutMkLst>
        </pc:sldLayoutChg>
        <pc:sldLayoutChg chg="del">
          <pc:chgData name="James Serra" userId="8ac5bb8964d8f761" providerId="LiveId" clId="{FC310332-FC92-4ACD-81FC-0A824A7E7784}" dt="2017-12-08T04:31:44.677" v="148" actId="2696"/>
          <pc:sldLayoutMkLst>
            <pc:docMk/>
            <pc:sldMasterMk cId="1541415088" sldId="2147484847"/>
            <pc:sldLayoutMk cId="2368967852" sldId="2147484862"/>
          </pc:sldLayoutMkLst>
        </pc:sldLayoutChg>
        <pc:sldLayoutChg chg="del">
          <pc:chgData name="James Serra" userId="8ac5bb8964d8f761" providerId="LiveId" clId="{FC310332-FC92-4ACD-81FC-0A824A7E7784}" dt="2017-12-08T04:31:44.526" v="147" actId="2696"/>
          <pc:sldLayoutMkLst>
            <pc:docMk/>
            <pc:sldMasterMk cId="1541415088" sldId="2147484847"/>
            <pc:sldLayoutMk cId="407202123" sldId="2147484864"/>
          </pc:sldLayoutMkLst>
        </pc:sldLayoutChg>
      </pc:sldMasterChg>
      <pc:sldMasterChg chg="delSldLayout">
        <pc:chgData name="James Serra" userId="8ac5bb8964d8f761" providerId="LiveId" clId="{FC310332-FC92-4ACD-81FC-0A824A7E7784}" dt="2017-12-08T04:31:49.182" v="167" actId="2696"/>
        <pc:sldMasterMkLst>
          <pc:docMk/>
          <pc:sldMasterMk cId="2868845499" sldId="2147484865"/>
        </pc:sldMasterMkLst>
        <pc:sldLayoutChg chg="del">
          <pc:chgData name="James Serra" userId="8ac5bb8964d8f761" providerId="LiveId" clId="{FC310332-FC92-4ACD-81FC-0A824A7E7784}" dt="2017-12-08T04:31:49.182" v="167" actId="2696"/>
          <pc:sldLayoutMkLst>
            <pc:docMk/>
            <pc:sldMasterMk cId="2868845499" sldId="2147484865"/>
            <pc:sldLayoutMk cId="499972161" sldId="2147484866"/>
          </pc:sldLayoutMkLst>
        </pc:sldLayoutChg>
        <pc:sldLayoutChg chg="del">
          <pc:chgData name="James Serra" userId="8ac5bb8964d8f761" providerId="LiveId" clId="{FC310332-FC92-4ACD-81FC-0A824A7E7784}" dt="2017-12-08T04:31:49.056" v="166" actId="2696"/>
          <pc:sldLayoutMkLst>
            <pc:docMk/>
            <pc:sldMasterMk cId="2868845499" sldId="2147484865"/>
            <pc:sldLayoutMk cId="3528499837" sldId="2147484867"/>
          </pc:sldLayoutMkLst>
        </pc:sldLayoutChg>
        <pc:sldLayoutChg chg="del">
          <pc:chgData name="James Serra" userId="8ac5bb8964d8f761" providerId="LiveId" clId="{FC310332-FC92-4ACD-81FC-0A824A7E7784}" dt="2017-12-08T04:31:48.927" v="165" actId="2696"/>
          <pc:sldLayoutMkLst>
            <pc:docMk/>
            <pc:sldMasterMk cId="2868845499" sldId="2147484865"/>
            <pc:sldLayoutMk cId="2481257657" sldId="2147484869"/>
          </pc:sldLayoutMkLst>
        </pc:sldLayoutChg>
        <pc:sldLayoutChg chg="del">
          <pc:chgData name="James Serra" userId="8ac5bb8964d8f761" providerId="LiveId" clId="{FC310332-FC92-4ACD-81FC-0A824A7E7784}" dt="2017-12-08T04:31:48.799" v="164" actId="2696"/>
          <pc:sldLayoutMkLst>
            <pc:docMk/>
            <pc:sldMasterMk cId="2868845499" sldId="2147484865"/>
            <pc:sldLayoutMk cId="785813105" sldId="2147484870"/>
          </pc:sldLayoutMkLst>
        </pc:sldLayoutChg>
        <pc:sldLayoutChg chg="del">
          <pc:chgData name="James Serra" userId="8ac5bb8964d8f761" providerId="LiveId" clId="{FC310332-FC92-4ACD-81FC-0A824A7E7784}" dt="2017-12-08T04:31:48.289" v="163" actId="2696"/>
          <pc:sldLayoutMkLst>
            <pc:docMk/>
            <pc:sldMasterMk cId="2868845499" sldId="2147484865"/>
            <pc:sldLayoutMk cId="2911807113" sldId="2147484871"/>
          </pc:sldLayoutMkLst>
        </pc:sldLayoutChg>
      </pc:sldMasterChg>
      <pc:sldMasterChg chg="delSldLayout">
        <pc:chgData name="James Serra" userId="8ac5bb8964d8f761" providerId="LiveId" clId="{FC310332-FC92-4ACD-81FC-0A824A7E7784}" dt="2017-12-08T04:31:50.280" v="176" actId="2696"/>
        <pc:sldMasterMkLst>
          <pc:docMk/>
          <pc:sldMasterMk cId="4150142022" sldId="2147484907"/>
        </pc:sldMasterMkLst>
        <pc:sldLayoutChg chg="del">
          <pc:chgData name="James Serra" userId="8ac5bb8964d8f761" providerId="LiveId" clId="{FC310332-FC92-4ACD-81FC-0A824A7E7784}" dt="2017-12-08T04:31:50.280" v="176" actId="2696"/>
          <pc:sldLayoutMkLst>
            <pc:docMk/>
            <pc:sldMasterMk cId="4150142022" sldId="2147484907"/>
            <pc:sldLayoutMk cId="2767101635" sldId="2147484908"/>
          </pc:sldLayoutMkLst>
        </pc:sldLayoutChg>
        <pc:sldLayoutChg chg="del">
          <pc:chgData name="James Serra" userId="8ac5bb8964d8f761" providerId="LiveId" clId="{FC310332-FC92-4ACD-81FC-0A824A7E7784}" dt="2017-12-08T04:31:50.166" v="175" actId="2696"/>
          <pc:sldLayoutMkLst>
            <pc:docMk/>
            <pc:sldMasterMk cId="4150142022" sldId="2147484907"/>
            <pc:sldLayoutMk cId="1349236016" sldId="2147484910"/>
          </pc:sldLayoutMkLst>
        </pc:sldLayoutChg>
        <pc:sldLayoutChg chg="del">
          <pc:chgData name="James Serra" userId="8ac5bb8964d8f761" providerId="LiveId" clId="{FC310332-FC92-4ACD-81FC-0A824A7E7784}" dt="2017-12-08T04:31:50.048" v="174" actId="2696"/>
          <pc:sldLayoutMkLst>
            <pc:docMk/>
            <pc:sldMasterMk cId="4150142022" sldId="2147484907"/>
            <pc:sldLayoutMk cId="2938187886" sldId="2147484911"/>
          </pc:sldLayoutMkLst>
        </pc:sldLayoutChg>
        <pc:sldLayoutChg chg="del">
          <pc:chgData name="James Serra" userId="8ac5bb8964d8f761" providerId="LiveId" clId="{FC310332-FC92-4ACD-81FC-0A824A7E7784}" dt="2017-12-08T04:31:49.931" v="173" actId="2696"/>
          <pc:sldLayoutMkLst>
            <pc:docMk/>
            <pc:sldMasterMk cId="4150142022" sldId="2147484907"/>
            <pc:sldLayoutMk cId="3696736867" sldId="2147484912"/>
          </pc:sldLayoutMkLst>
        </pc:sldLayoutChg>
        <pc:sldLayoutChg chg="del">
          <pc:chgData name="James Serra" userId="8ac5bb8964d8f761" providerId="LiveId" clId="{FC310332-FC92-4ACD-81FC-0A824A7E7784}" dt="2017-12-08T04:31:49.812" v="172" actId="2696"/>
          <pc:sldLayoutMkLst>
            <pc:docMk/>
            <pc:sldMasterMk cId="4150142022" sldId="2147484907"/>
            <pc:sldLayoutMk cId="3673400694" sldId="2147484913"/>
          </pc:sldLayoutMkLst>
        </pc:sldLayoutChg>
        <pc:sldLayoutChg chg="del">
          <pc:chgData name="James Serra" userId="8ac5bb8964d8f761" providerId="LiveId" clId="{FC310332-FC92-4ACD-81FC-0A824A7E7784}" dt="2017-12-08T04:31:49.690" v="171" actId="2696"/>
          <pc:sldLayoutMkLst>
            <pc:docMk/>
            <pc:sldMasterMk cId="4150142022" sldId="2147484907"/>
            <pc:sldLayoutMk cId="10861380" sldId="2147484915"/>
          </pc:sldLayoutMkLst>
        </pc:sldLayoutChg>
        <pc:sldLayoutChg chg="del">
          <pc:chgData name="James Serra" userId="8ac5bb8964d8f761" providerId="LiveId" clId="{FC310332-FC92-4ACD-81FC-0A824A7E7784}" dt="2017-12-08T04:31:49.566" v="170" actId="2696"/>
          <pc:sldLayoutMkLst>
            <pc:docMk/>
            <pc:sldMasterMk cId="4150142022" sldId="2147484907"/>
            <pc:sldLayoutMk cId="1295128585" sldId="2147484916"/>
          </pc:sldLayoutMkLst>
        </pc:sldLayoutChg>
        <pc:sldLayoutChg chg="del">
          <pc:chgData name="James Serra" userId="8ac5bb8964d8f761" providerId="LiveId" clId="{FC310332-FC92-4ACD-81FC-0A824A7E7784}" dt="2017-12-08T04:31:49.437" v="169" actId="2696"/>
          <pc:sldLayoutMkLst>
            <pc:docMk/>
            <pc:sldMasterMk cId="4150142022" sldId="2147484907"/>
            <pc:sldLayoutMk cId="4094987938" sldId="2147484917"/>
          </pc:sldLayoutMkLst>
        </pc:sldLayoutChg>
        <pc:sldLayoutChg chg="del">
          <pc:chgData name="James Serra" userId="8ac5bb8964d8f761" providerId="LiveId" clId="{FC310332-FC92-4ACD-81FC-0A824A7E7784}" dt="2017-12-08T04:31:49.312" v="168" actId="2696"/>
          <pc:sldLayoutMkLst>
            <pc:docMk/>
            <pc:sldMasterMk cId="4150142022" sldId="2147484907"/>
            <pc:sldLayoutMk cId="2810834069" sldId="2147484918"/>
          </pc:sldLayoutMkLst>
        </pc:sldLayoutChg>
      </pc:sldMasterChg>
      <pc:sldMasterChg chg="delSldLayout">
        <pc:chgData name="James Serra" userId="8ac5bb8964d8f761" providerId="LiveId" clId="{FC310332-FC92-4ACD-81FC-0A824A7E7784}" dt="2017-12-08T04:31:51.946" v="191" actId="2696"/>
        <pc:sldMasterMkLst>
          <pc:docMk/>
          <pc:sldMasterMk cId="1907015328" sldId="2147484919"/>
        </pc:sldMasterMkLst>
        <pc:sldLayoutChg chg="del">
          <pc:chgData name="James Serra" userId="8ac5bb8964d8f761" providerId="LiveId" clId="{FC310332-FC92-4ACD-81FC-0A824A7E7784}" dt="2017-12-08T04:31:51.946" v="191" actId="2696"/>
          <pc:sldLayoutMkLst>
            <pc:docMk/>
            <pc:sldMasterMk cId="1907015328" sldId="2147484919"/>
            <pc:sldLayoutMk cId="2898318305" sldId="2147484920"/>
          </pc:sldLayoutMkLst>
        </pc:sldLayoutChg>
        <pc:sldLayoutChg chg="del">
          <pc:chgData name="James Serra" userId="8ac5bb8964d8f761" providerId="LiveId" clId="{FC310332-FC92-4ACD-81FC-0A824A7E7784}" dt="2017-12-08T04:31:51.850" v="190" actId="2696"/>
          <pc:sldLayoutMkLst>
            <pc:docMk/>
            <pc:sldMasterMk cId="1907015328" sldId="2147484919"/>
            <pc:sldLayoutMk cId="101115112" sldId="2147484921"/>
          </pc:sldLayoutMkLst>
        </pc:sldLayoutChg>
        <pc:sldLayoutChg chg="del">
          <pc:chgData name="James Serra" userId="8ac5bb8964d8f761" providerId="LiveId" clId="{FC310332-FC92-4ACD-81FC-0A824A7E7784}" dt="2017-12-08T04:31:51.753" v="189" actId="2696"/>
          <pc:sldLayoutMkLst>
            <pc:docMk/>
            <pc:sldMasterMk cId="1907015328" sldId="2147484919"/>
            <pc:sldLayoutMk cId="2520856217" sldId="2147484922"/>
          </pc:sldLayoutMkLst>
        </pc:sldLayoutChg>
        <pc:sldLayoutChg chg="del">
          <pc:chgData name="James Serra" userId="8ac5bb8964d8f761" providerId="LiveId" clId="{FC310332-FC92-4ACD-81FC-0A824A7E7784}" dt="2017-12-08T04:31:51.649" v="188" actId="2696"/>
          <pc:sldLayoutMkLst>
            <pc:docMk/>
            <pc:sldMasterMk cId="1907015328" sldId="2147484919"/>
            <pc:sldLayoutMk cId="3223055417" sldId="2147484923"/>
          </pc:sldLayoutMkLst>
        </pc:sldLayoutChg>
        <pc:sldLayoutChg chg="del">
          <pc:chgData name="James Serra" userId="8ac5bb8964d8f761" providerId="LiveId" clId="{FC310332-FC92-4ACD-81FC-0A824A7E7784}" dt="2017-12-08T04:31:51.543" v="187" actId="2696"/>
          <pc:sldLayoutMkLst>
            <pc:docMk/>
            <pc:sldMasterMk cId="1907015328" sldId="2147484919"/>
            <pc:sldLayoutMk cId="3178714779" sldId="2147484925"/>
          </pc:sldLayoutMkLst>
        </pc:sldLayoutChg>
        <pc:sldLayoutChg chg="del">
          <pc:chgData name="James Serra" userId="8ac5bb8964d8f761" providerId="LiveId" clId="{FC310332-FC92-4ACD-81FC-0A824A7E7784}" dt="2017-12-08T04:31:51.439" v="186" actId="2696"/>
          <pc:sldLayoutMkLst>
            <pc:docMk/>
            <pc:sldMasterMk cId="1907015328" sldId="2147484919"/>
            <pc:sldLayoutMk cId="499561598" sldId="2147484926"/>
          </pc:sldLayoutMkLst>
        </pc:sldLayoutChg>
        <pc:sldLayoutChg chg="del">
          <pc:chgData name="James Serra" userId="8ac5bb8964d8f761" providerId="LiveId" clId="{FC310332-FC92-4ACD-81FC-0A824A7E7784}" dt="2017-12-08T04:31:51.337" v="185" actId="2696"/>
          <pc:sldLayoutMkLst>
            <pc:docMk/>
            <pc:sldMasterMk cId="1907015328" sldId="2147484919"/>
            <pc:sldLayoutMk cId="3329385786" sldId="2147484927"/>
          </pc:sldLayoutMkLst>
        </pc:sldLayoutChg>
        <pc:sldLayoutChg chg="del">
          <pc:chgData name="James Serra" userId="8ac5bb8964d8f761" providerId="LiveId" clId="{FC310332-FC92-4ACD-81FC-0A824A7E7784}" dt="2017-12-08T04:31:51.234" v="184" actId="2696"/>
          <pc:sldLayoutMkLst>
            <pc:docMk/>
            <pc:sldMasterMk cId="1907015328" sldId="2147484919"/>
            <pc:sldLayoutMk cId="3436941498" sldId="2147484929"/>
          </pc:sldLayoutMkLst>
        </pc:sldLayoutChg>
        <pc:sldLayoutChg chg="del">
          <pc:chgData name="James Serra" userId="8ac5bb8964d8f761" providerId="LiveId" clId="{FC310332-FC92-4ACD-81FC-0A824A7E7784}" dt="2017-12-08T04:31:51.128" v="183" actId="2696"/>
          <pc:sldLayoutMkLst>
            <pc:docMk/>
            <pc:sldMasterMk cId="1907015328" sldId="2147484919"/>
            <pc:sldLayoutMk cId="1906757397" sldId="2147484930"/>
          </pc:sldLayoutMkLst>
        </pc:sldLayoutChg>
        <pc:sldLayoutChg chg="del">
          <pc:chgData name="James Serra" userId="8ac5bb8964d8f761" providerId="LiveId" clId="{FC310332-FC92-4ACD-81FC-0A824A7E7784}" dt="2017-12-08T04:31:51.024" v="182" actId="2696"/>
          <pc:sldLayoutMkLst>
            <pc:docMk/>
            <pc:sldMasterMk cId="1907015328" sldId="2147484919"/>
            <pc:sldLayoutMk cId="324865207" sldId="2147484931"/>
          </pc:sldLayoutMkLst>
        </pc:sldLayoutChg>
        <pc:sldLayoutChg chg="del">
          <pc:chgData name="James Serra" userId="8ac5bb8964d8f761" providerId="LiveId" clId="{FC310332-FC92-4ACD-81FC-0A824A7E7784}" dt="2017-12-08T04:31:50.914" v="181" actId="2696"/>
          <pc:sldLayoutMkLst>
            <pc:docMk/>
            <pc:sldMasterMk cId="1907015328" sldId="2147484919"/>
            <pc:sldLayoutMk cId="1180133973" sldId="2147484932"/>
          </pc:sldLayoutMkLst>
        </pc:sldLayoutChg>
        <pc:sldLayoutChg chg="del">
          <pc:chgData name="James Serra" userId="8ac5bb8964d8f761" providerId="LiveId" clId="{FC310332-FC92-4ACD-81FC-0A824A7E7784}" dt="2017-12-08T04:31:50.803" v="180" actId="2696"/>
          <pc:sldLayoutMkLst>
            <pc:docMk/>
            <pc:sldMasterMk cId="1907015328" sldId="2147484919"/>
            <pc:sldLayoutMk cId="679092968" sldId="2147484933"/>
          </pc:sldLayoutMkLst>
        </pc:sldLayoutChg>
        <pc:sldLayoutChg chg="del">
          <pc:chgData name="James Serra" userId="8ac5bb8964d8f761" providerId="LiveId" clId="{FC310332-FC92-4ACD-81FC-0A824A7E7784}" dt="2017-12-08T04:31:50.621" v="179" actId="2696"/>
          <pc:sldLayoutMkLst>
            <pc:docMk/>
            <pc:sldMasterMk cId="1907015328" sldId="2147484919"/>
            <pc:sldLayoutMk cId="3758504571" sldId="2147484934"/>
          </pc:sldLayoutMkLst>
        </pc:sldLayoutChg>
        <pc:sldLayoutChg chg="del">
          <pc:chgData name="James Serra" userId="8ac5bb8964d8f761" providerId="LiveId" clId="{FC310332-FC92-4ACD-81FC-0A824A7E7784}" dt="2017-12-08T04:31:50.510" v="178" actId="2696"/>
          <pc:sldLayoutMkLst>
            <pc:docMk/>
            <pc:sldMasterMk cId="1907015328" sldId="2147484919"/>
            <pc:sldLayoutMk cId="2078908974" sldId="2147484935"/>
          </pc:sldLayoutMkLst>
        </pc:sldLayoutChg>
        <pc:sldLayoutChg chg="del">
          <pc:chgData name="James Serra" userId="8ac5bb8964d8f761" providerId="LiveId" clId="{FC310332-FC92-4ACD-81FC-0A824A7E7784}" dt="2017-12-08T04:31:50.394" v="177" actId="2696"/>
          <pc:sldLayoutMkLst>
            <pc:docMk/>
            <pc:sldMasterMk cId="1907015328" sldId="2147484919"/>
            <pc:sldLayoutMk cId="3873570062" sldId="2147484936"/>
          </pc:sldLayoutMkLst>
        </pc:sldLayoutChg>
      </pc:sldMasterChg>
      <pc:sldMasterChg chg="delSldLayout">
        <pc:chgData name="James Serra" userId="8ac5bb8964d8f761" providerId="LiveId" clId="{FC310332-FC92-4ACD-81FC-0A824A7E7784}" dt="2017-12-08T04:31:53.798" v="212" actId="2696"/>
        <pc:sldMasterMkLst>
          <pc:docMk/>
          <pc:sldMasterMk cId="354515223" sldId="2147484937"/>
        </pc:sldMasterMkLst>
        <pc:sldLayoutChg chg="del">
          <pc:chgData name="James Serra" userId="8ac5bb8964d8f761" providerId="LiveId" clId="{FC310332-FC92-4ACD-81FC-0A824A7E7784}" dt="2017-12-08T04:31:53.798" v="212" actId="2696"/>
          <pc:sldLayoutMkLst>
            <pc:docMk/>
            <pc:sldMasterMk cId="354515223" sldId="2147484937"/>
            <pc:sldLayoutMk cId="2555745074" sldId="2147484938"/>
          </pc:sldLayoutMkLst>
        </pc:sldLayoutChg>
        <pc:sldLayoutChg chg="del">
          <pc:chgData name="James Serra" userId="8ac5bb8964d8f761" providerId="LiveId" clId="{FC310332-FC92-4ACD-81FC-0A824A7E7784}" dt="2017-12-08T04:31:53.724" v="211" actId="2696"/>
          <pc:sldLayoutMkLst>
            <pc:docMk/>
            <pc:sldMasterMk cId="354515223" sldId="2147484937"/>
            <pc:sldLayoutMk cId="240961422" sldId="2147484939"/>
          </pc:sldLayoutMkLst>
        </pc:sldLayoutChg>
        <pc:sldLayoutChg chg="del">
          <pc:chgData name="James Serra" userId="8ac5bb8964d8f761" providerId="LiveId" clId="{FC310332-FC92-4ACD-81FC-0A824A7E7784}" dt="2017-12-08T04:31:53.649" v="210" actId="2696"/>
          <pc:sldLayoutMkLst>
            <pc:docMk/>
            <pc:sldMasterMk cId="354515223" sldId="2147484937"/>
            <pc:sldLayoutMk cId="3966066471" sldId="2147484940"/>
          </pc:sldLayoutMkLst>
        </pc:sldLayoutChg>
        <pc:sldLayoutChg chg="del">
          <pc:chgData name="James Serra" userId="8ac5bb8964d8f761" providerId="LiveId" clId="{FC310332-FC92-4ACD-81FC-0A824A7E7784}" dt="2017-12-08T04:31:53.575" v="209" actId="2696"/>
          <pc:sldLayoutMkLst>
            <pc:docMk/>
            <pc:sldMasterMk cId="354515223" sldId="2147484937"/>
            <pc:sldLayoutMk cId="2130194823" sldId="2147484941"/>
          </pc:sldLayoutMkLst>
        </pc:sldLayoutChg>
        <pc:sldLayoutChg chg="del">
          <pc:chgData name="James Serra" userId="8ac5bb8964d8f761" providerId="LiveId" clId="{FC310332-FC92-4ACD-81FC-0A824A7E7784}" dt="2017-12-08T04:31:53.496" v="208" actId="2696"/>
          <pc:sldLayoutMkLst>
            <pc:docMk/>
            <pc:sldMasterMk cId="354515223" sldId="2147484937"/>
            <pc:sldLayoutMk cId="1498730902" sldId="2147484943"/>
          </pc:sldLayoutMkLst>
        </pc:sldLayoutChg>
        <pc:sldLayoutChg chg="del">
          <pc:chgData name="James Serra" userId="8ac5bb8964d8f761" providerId="LiveId" clId="{FC310332-FC92-4ACD-81FC-0A824A7E7784}" dt="2017-12-08T04:31:53.417" v="207" actId="2696"/>
          <pc:sldLayoutMkLst>
            <pc:docMk/>
            <pc:sldMasterMk cId="354515223" sldId="2147484937"/>
            <pc:sldLayoutMk cId="1529893207" sldId="2147484944"/>
          </pc:sldLayoutMkLst>
        </pc:sldLayoutChg>
        <pc:sldLayoutChg chg="del">
          <pc:chgData name="James Serra" userId="8ac5bb8964d8f761" providerId="LiveId" clId="{FC310332-FC92-4ACD-81FC-0A824A7E7784}" dt="2017-12-08T04:31:53.334" v="206" actId="2696"/>
          <pc:sldLayoutMkLst>
            <pc:docMk/>
            <pc:sldMasterMk cId="354515223" sldId="2147484937"/>
            <pc:sldLayoutMk cId="1782282847" sldId="2147484945"/>
          </pc:sldLayoutMkLst>
        </pc:sldLayoutChg>
        <pc:sldLayoutChg chg="del">
          <pc:chgData name="James Serra" userId="8ac5bb8964d8f761" providerId="LiveId" clId="{FC310332-FC92-4ACD-81FC-0A824A7E7784}" dt="2017-12-08T04:31:53.255" v="205" actId="2696"/>
          <pc:sldLayoutMkLst>
            <pc:docMk/>
            <pc:sldMasterMk cId="354515223" sldId="2147484937"/>
            <pc:sldLayoutMk cId="2026559303" sldId="2147484946"/>
          </pc:sldLayoutMkLst>
        </pc:sldLayoutChg>
        <pc:sldLayoutChg chg="del">
          <pc:chgData name="James Serra" userId="8ac5bb8964d8f761" providerId="LiveId" clId="{FC310332-FC92-4ACD-81FC-0A824A7E7784}" dt="2017-12-08T04:31:53.173" v="204" actId="2696"/>
          <pc:sldLayoutMkLst>
            <pc:docMk/>
            <pc:sldMasterMk cId="354515223" sldId="2147484937"/>
            <pc:sldLayoutMk cId="1709200372" sldId="2147484947"/>
          </pc:sldLayoutMkLst>
        </pc:sldLayoutChg>
        <pc:sldLayoutChg chg="del">
          <pc:chgData name="James Serra" userId="8ac5bb8964d8f761" providerId="LiveId" clId="{FC310332-FC92-4ACD-81FC-0A824A7E7784}" dt="2017-12-08T04:31:53.093" v="203" actId="2696"/>
          <pc:sldLayoutMkLst>
            <pc:docMk/>
            <pc:sldMasterMk cId="354515223" sldId="2147484937"/>
            <pc:sldLayoutMk cId="3551059412" sldId="2147484948"/>
          </pc:sldLayoutMkLst>
        </pc:sldLayoutChg>
        <pc:sldLayoutChg chg="del">
          <pc:chgData name="James Serra" userId="8ac5bb8964d8f761" providerId="LiveId" clId="{FC310332-FC92-4ACD-81FC-0A824A7E7784}" dt="2017-12-08T04:31:53.007" v="202" actId="2696"/>
          <pc:sldLayoutMkLst>
            <pc:docMk/>
            <pc:sldMasterMk cId="354515223" sldId="2147484937"/>
            <pc:sldLayoutMk cId="2352870333" sldId="2147484949"/>
          </pc:sldLayoutMkLst>
        </pc:sldLayoutChg>
        <pc:sldLayoutChg chg="del">
          <pc:chgData name="James Serra" userId="8ac5bb8964d8f761" providerId="LiveId" clId="{FC310332-FC92-4ACD-81FC-0A824A7E7784}" dt="2017-12-08T04:31:52.920" v="201" actId="2696"/>
          <pc:sldLayoutMkLst>
            <pc:docMk/>
            <pc:sldMasterMk cId="354515223" sldId="2147484937"/>
            <pc:sldLayoutMk cId="2689718208" sldId="2147484950"/>
          </pc:sldLayoutMkLst>
        </pc:sldLayoutChg>
        <pc:sldLayoutChg chg="del">
          <pc:chgData name="James Serra" userId="8ac5bb8964d8f761" providerId="LiveId" clId="{FC310332-FC92-4ACD-81FC-0A824A7E7784}" dt="2017-12-08T04:31:52.833" v="200" actId="2696"/>
          <pc:sldLayoutMkLst>
            <pc:docMk/>
            <pc:sldMasterMk cId="354515223" sldId="2147484937"/>
            <pc:sldLayoutMk cId="3893450889" sldId="2147484951"/>
          </pc:sldLayoutMkLst>
        </pc:sldLayoutChg>
        <pc:sldLayoutChg chg="del">
          <pc:chgData name="James Serra" userId="8ac5bb8964d8f761" providerId="LiveId" clId="{FC310332-FC92-4ACD-81FC-0A824A7E7784}" dt="2017-12-08T04:31:52.694" v="199" actId="2696"/>
          <pc:sldLayoutMkLst>
            <pc:docMk/>
            <pc:sldMasterMk cId="354515223" sldId="2147484937"/>
            <pc:sldLayoutMk cId="187166024" sldId="2147484952"/>
          </pc:sldLayoutMkLst>
        </pc:sldLayoutChg>
        <pc:sldLayoutChg chg="del">
          <pc:chgData name="James Serra" userId="8ac5bb8964d8f761" providerId="LiveId" clId="{FC310332-FC92-4ACD-81FC-0A824A7E7784}" dt="2017-12-08T04:31:52.596" v="198" actId="2696"/>
          <pc:sldLayoutMkLst>
            <pc:docMk/>
            <pc:sldMasterMk cId="354515223" sldId="2147484937"/>
            <pc:sldLayoutMk cId="3745743362" sldId="2147484953"/>
          </pc:sldLayoutMkLst>
        </pc:sldLayoutChg>
        <pc:sldLayoutChg chg="del">
          <pc:chgData name="James Serra" userId="8ac5bb8964d8f761" providerId="LiveId" clId="{FC310332-FC92-4ACD-81FC-0A824A7E7784}" dt="2017-12-08T04:31:52.500" v="197" actId="2696"/>
          <pc:sldLayoutMkLst>
            <pc:docMk/>
            <pc:sldMasterMk cId="354515223" sldId="2147484937"/>
            <pc:sldLayoutMk cId="3882672027" sldId="2147484954"/>
          </pc:sldLayoutMkLst>
        </pc:sldLayoutChg>
        <pc:sldLayoutChg chg="del">
          <pc:chgData name="James Serra" userId="8ac5bb8964d8f761" providerId="LiveId" clId="{FC310332-FC92-4ACD-81FC-0A824A7E7784}" dt="2017-12-08T04:31:52.411" v="196" actId="2696"/>
          <pc:sldLayoutMkLst>
            <pc:docMk/>
            <pc:sldMasterMk cId="354515223" sldId="2147484937"/>
            <pc:sldLayoutMk cId="723231173" sldId="2147484955"/>
          </pc:sldLayoutMkLst>
        </pc:sldLayoutChg>
        <pc:sldLayoutChg chg="del">
          <pc:chgData name="James Serra" userId="8ac5bb8964d8f761" providerId="LiveId" clId="{FC310332-FC92-4ACD-81FC-0A824A7E7784}" dt="2017-12-08T04:31:52.322" v="195" actId="2696"/>
          <pc:sldLayoutMkLst>
            <pc:docMk/>
            <pc:sldMasterMk cId="354515223" sldId="2147484937"/>
            <pc:sldLayoutMk cId="2427740772" sldId="2147484956"/>
          </pc:sldLayoutMkLst>
        </pc:sldLayoutChg>
        <pc:sldLayoutChg chg="del">
          <pc:chgData name="James Serra" userId="8ac5bb8964d8f761" providerId="LiveId" clId="{FC310332-FC92-4ACD-81FC-0A824A7E7784}" dt="2017-12-08T04:31:52.234" v="194" actId="2696"/>
          <pc:sldLayoutMkLst>
            <pc:docMk/>
            <pc:sldMasterMk cId="354515223" sldId="2147484937"/>
            <pc:sldLayoutMk cId="3050813996" sldId="2147484957"/>
          </pc:sldLayoutMkLst>
        </pc:sldLayoutChg>
        <pc:sldLayoutChg chg="del">
          <pc:chgData name="James Serra" userId="8ac5bb8964d8f761" providerId="LiveId" clId="{FC310332-FC92-4ACD-81FC-0A824A7E7784}" dt="2017-12-08T04:31:52.139" v="193" actId="2696"/>
          <pc:sldLayoutMkLst>
            <pc:docMk/>
            <pc:sldMasterMk cId="354515223" sldId="2147484937"/>
            <pc:sldLayoutMk cId="1754932723" sldId="2147484958"/>
          </pc:sldLayoutMkLst>
        </pc:sldLayoutChg>
        <pc:sldLayoutChg chg="del">
          <pc:chgData name="James Serra" userId="8ac5bb8964d8f761" providerId="LiveId" clId="{FC310332-FC92-4ACD-81FC-0A824A7E7784}" dt="2017-12-08T04:31:52.041" v="192" actId="2696"/>
          <pc:sldLayoutMkLst>
            <pc:docMk/>
            <pc:sldMasterMk cId="354515223" sldId="2147484937"/>
            <pc:sldLayoutMk cId="3580968100" sldId="2147484959"/>
          </pc:sldLayoutMkLst>
        </pc:sldLayoutChg>
      </pc:sldMasterChg>
      <pc:sldMasterChg chg="delSldLayout">
        <pc:chgData name="James Serra" userId="8ac5bb8964d8f761" providerId="LiveId" clId="{FC310332-FC92-4ACD-81FC-0A824A7E7784}" dt="2017-12-08T04:31:54.931" v="229" actId="2696"/>
        <pc:sldMasterMkLst>
          <pc:docMk/>
          <pc:sldMasterMk cId="2787446597" sldId="2147484961"/>
        </pc:sldMasterMkLst>
        <pc:sldLayoutChg chg="del">
          <pc:chgData name="James Serra" userId="8ac5bb8964d8f761" providerId="LiveId" clId="{FC310332-FC92-4ACD-81FC-0A824A7E7784}" dt="2017-12-08T04:31:54.931" v="229" actId="2696"/>
          <pc:sldLayoutMkLst>
            <pc:docMk/>
            <pc:sldMasterMk cId="2787446597" sldId="2147484961"/>
            <pc:sldLayoutMk cId="2683150468" sldId="2147484962"/>
          </pc:sldLayoutMkLst>
        </pc:sldLayoutChg>
        <pc:sldLayoutChg chg="del">
          <pc:chgData name="James Serra" userId="8ac5bb8964d8f761" providerId="LiveId" clId="{FC310332-FC92-4ACD-81FC-0A824A7E7784}" dt="2017-12-08T04:31:54.871" v="228" actId="2696"/>
          <pc:sldLayoutMkLst>
            <pc:docMk/>
            <pc:sldMasterMk cId="2787446597" sldId="2147484961"/>
            <pc:sldLayoutMk cId="2980807115" sldId="2147484963"/>
          </pc:sldLayoutMkLst>
        </pc:sldLayoutChg>
        <pc:sldLayoutChg chg="del">
          <pc:chgData name="James Serra" userId="8ac5bb8964d8f761" providerId="LiveId" clId="{FC310332-FC92-4ACD-81FC-0A824A7E7784}" dt="2017-12-08T04:31:54.812" v="227" actId="2696"/>
          <pc:sldLayoutMkLst>
            <pc:docMk/>
            <pc:sldMasterMk cId="2787446597" sldId="2147484961"/>
            <pc:sldLayoutMk cId="4139752546" sldId="2147484964"/>
          </pc:sldLayoutMkLst>
        </pc:sldLayoutChg>
        <pc:sldLayoutChg chg="del">
          <pc:chgData name="James Serra" userId="8ac5bb8964d8f761" providerId="LiveId" clId="{FC310332-FC92-4ACD-81FC-0A824A7E7784}" dt="2017-12-08T04:31:54.751" v="226" actId="2696"/>
          <pc:sldLayoutMkLst>
            <pc:docMk/>
            <pc:sldMasterMk cId="2787446597" sldId="2147484961"/>
            <pc:sldLayoutMk cId="312947910" sldId="2147484965"/>
          </pc:sldLayoutMkLst>
        </pc:sldLayoutChg>
        <pc:sldLayoutChg chg="del">
          <pc:chgData name="James Serra" userId="8ac5bb8964d8f761" providerId="LiveId" clId="{FC310332-FC92-4ACD-81FC-0A824A7E7784}" dt="2017-12-08T04:31:54.691" v="225" actId="2696"/>
          <pc:sldLayoutMkLst>
            <pc:docMk/>
            <pc:sldMasterMk cId="2787446597" sldId="2147484961"/>
            <pc:sldLayoutMk cId="395821027" sldId="2147484966"/>
          </pc:sldLayoutMkLst>
        </pc:sldLayoutChg>
        <pc:sldLayoutChg chg="del">
          <pc:chgData name="James Serra" userId="8ac5bb8964d8f761" providerId="LiveId" clId="{FC310332-FC92-4ACD-81FC-0A824A7E7784}" dt="2017-12-08T04:31:54.631" v="224" actId="2696"/>
          <pc:sldLayoutMkLst>
            <pc:docMk/>
            <pc:sldMasterMk cId="2787446597" sldId="2147484961"/>
            <pc:sldLayoutMk cId="2541985241" sldId="2147484967"/>
          </pc:sldLayoutMkLst>
        </pc:sldLayoutChg>
        <pc:sldLayoutChg chg="del">
          <pc:chgData name="James Serra" userId="8ac5bb8964d8f761" providerId="LiveId" clId="{FC310332-FC92-4ACD-81FC-0A824A7E7784}" dt="2017-12-08T04:31:54.571" v="223" actId="2696"/>
          <pc:sldLayoutMkLst>
            <pc:docMk/>
            <pc:sldMasterMk cId="2787446597" sldId="2147484961"/>
            <pc:sldLayoutMk cId="802447895" sldId="2147484969"/>
          </pc:sldLayoutMkLst>
        </pc:sldLayoutChg>
        <pc:sldLayoutChg chg="del">
          <pc:chgData name="James Serra" userId="8ac5bb8964d8f761" providerId="LiveId" clId="{FC310332-FC92-4ACD-81FC-0A824A7E7784}" dt="2017-12-08T04:31:54.505" v="222" actId="2696"/>
          <pc:sldLayoutMkLst>
            <pc:docMk/>
            <pc:sldMasterMk cId="2787446597" sldId="2147484961"/>
            <pc:sldLayoutMk cId="1552580410" sldId="2147484970"/>
          </pc:sldLayoutMkLst>
        </pc:sldLayoutChg>
        <pc:sldLayoutChg chg="del">
          <pc:chgData name="James Serra" userId="8ac5bb8964d8f761" providerId="LiveId" clId="{FC310332-FC92-4ACD-81FC-0A824A7E7784}" dt="2017-12-08T04:31:54.438" v="221" actId="2696"/>
          <pc:sldLayoutMkLst>
            <pc:docMk/>
            <pc:sldMasterMk cId="2787446597" sldId="2147484961"/>
            <pc:sldLayoutMk cId="158781985" sldId="2147484971"/>
          </pc:sldLayoutMkLst>
        </pc:sldLayoutChg>
        <pc:sldLayoutChg chg="del">
          <pc:chgData name="James Serra" userId="8ac5bb8964d8f761" providerId="LiveId" clId="{FC310332-FC92-4ACD-81FC-0A824A7E7784}" dt="2017-12-08T04:31:54.373" v="220" actId="2696"/>
          <pc:sldLayoutMkLst>
            <pc:docMk/>
            <pc:sldMasterMk cId="2787446597" sldId="2147484961"/>
            <pc:sldLayoutMk cId="771879348" sldId="2147484972"/>
          </pc:sldLayoutMkLst>
        </pc:sldLayoutChg>
        <pc:sldLayoutChg chg="del">
          <pc:chgData name="James Serra" userId="8ac5bb8964d8f761" providerId="LiveId" clId="{FC310332-FC92-4ACD-81FC-0A824A7E7784}" dt="2017-12-08T04:31:54.304" v="219" actId="2696"/>
          <pc:sldLayoutMkLst>
            <pc:docMk/>
            <pc:sldMasterMk cId="2787446597" sldId="2147484961"/>
            <pc:sldLayoutMk cId="2475084531" sldId="2147484973"/>
          </pc:sldLayoutMkLst>
        </pc:sldLayoutChg>
        <pc:sldLayoutChg chg="del">
          <pc:chgData name="James Serra" userId="8ac5bb8964d8f761" providerId="LiveId" clId="{FC310332-FC92-4ACD-81FC-0A824A7E7784}" dt="2017-12-08T04:31:54.227" v="218" actId="2696"/>
          <pc:sldLayoutMkLst>
            <pc:docMk/>
            <pc:sldMasterMk cId="2787446597" sldId="2147484961"/>
            <pc:sldLayoutMk cId="4175087721" sldId="2147484974"/>
          </pc:sldLayoutMkLst>
        </pc:sldLayoutChg>
        <pc:sldLayoutChg chg="del">
          <pc:chgData name="James Serra" userId="8ac5bb8964d8f761" providerId="LiveId" clId="{FC310332-FC92-4ACD-81FC-0A824A7E7784}" dt="2017-12-08T04:31:54.151" v="217" actId="2696"/>
          <pc:sldLayoutMkLst>
            <pc:docMk/>
            <pc:sldMasterMk cId="2787446597" sldId="2147484961"/>
            <pc:sldLayoutMk cId="1338379227" sldId="2147484975"/>
          </pc:sldLayoutMkLst>
        </pc:sldLayoutChg>
        <pc:sldLayoutChg chg="del">
          <pc:chgData name="James Serra" userId="8ac5bb8964d8f761" providerId="LiveId" clId="{FC310332-FC92-4ACD-81FC-0A824A7E7784}" dt="2017-12-08T04:31:54.081" v="216" actId="2696"/>
          <pc:sldLayoutMkLst>
            <pc:docMk/>
            <pc:sldMasterMk cId="2787446597" sldId="2147484961"/>
            <pc:sldLayoutMk cId="2853248197" sldId="2147484976"/>
          </pc:sldLayoutMkLst>
        </pc:sldLayoutChg>
        <pc:sldLayoutChg chg="del">
          <pc:chgData name="James Serra" userId="8ac5bb8964d8f761" providerId="LiveId" clId="{FC310332-FC92-4ACD-81FC-0A824A7E7784}" dt="2017-12-08T04:31:54.012" v="215" actId="2696"/>
          <pc:sldLayoutMkLst>
            <pc:docMk/>
            <pc:sldMasterMk cId="2787446597" sldId="2147484961"/>
            <pc:sldLayoutMk cId="2632222463" sldId="2147484977"/>
          </pc:sldLayoutMkLst>
        </pc:sldLayoutChg>
        <pc:sldLayoutChg chg="del">
          <pc:chgData name="James Serra" userId="8ac5bb8964d8f761" providerId="LiveId" clId="{FC310332-FC92-4ACD-81FC-0A824A7E7784}" dt="2017-12-08T04:31:53.943" v="214" actId="2696"/>
          <pc:sldLayoutMkLst>
            <pc:docMk/>
            <pc:sldMasterMk cId="2787446597" sldId="2147484961"/>
            <pc:sldLayoutMk cId="1084504026" sldId="2147484978"/>
          </pc:sldLayoutMkLst>
        </pc:sldLayoutChg>
        <pc:sldLayoutChg chg="del">
          <pc:chgData name="James Serra" userId="8ac5bb8964d8f761" providerId="LiveId" clId="{FC310332-FC92-4ACD-81FC-0A824A7E7784}" dt="2017-12-08T04:31:53.872" v="213" actId="2696"/>
          <pc:sldLayoutMkLst>
            <pc:docMk/>
            <pc:sldMasterMk cId="2787446597" sldId="2147484961"/>
            <pc:sldLayoutMk cId="3685192743" sldId="2147484979"/>
          </pc:sldLayoutMkLst>
        </pc:sldLayoutChg>
      </pc:sldMasterChg>
      <pc:sldMasterChg chg="delSldLayout">
        <pc:chgData name="James Serra" userId="8ac5bb8964d8f761" providerId="LiveId" clId="{FC310332-FC92-4ACD-81FC-0A824A7E7784}" dt="2017-12-08T04:31:55.779" v="245" actId="2696"/>
        <pc:sldMasterMkLst>
          <pc:docMk/>
          <pc:sldMasterMk cId="4095171701" sldId="2147484981"/>
        </pc:sldMasterMkLst>
        <pc:sldLayoutChg chg="del">
          <pc:chgData name="James Serra" userId="8ac5bb8964d8f761" providerId="LiveId" clId="{FC310332-FC92-4ACD-81FC-0A824A7E7784}" dt="2017-12-08T04:31:55.779" v="245" actId="2696"/>
          <pc:sldLayoutMkLst>
            <pc:docMk/>
            <pc:sldMasterMk cId="4095171701" sldId="2147484981"/>
            <pc:sldLayoutMk cId="683145652" sldId="2147484982"/>
          </pc:sldLayoutMkLst>
        </pc:sldLayoutChg>
        <pc:sldLayoutChg chg="del">
          <pc:chgData name="James Serra" userId="8ac5bb8964d8f761" providerId="LiveId" clId="{FC310332-FC92-4ACD-81FC-0A824A7E7784}" dt="2017-12-08T04:31:55.731" v="244" actId="2696"/>
          <pc:sldLayoutMkLst>
            <pc:docMk/>
            <pc:sldMasterMk cId="4095171701" sldId="2147484981"/>
            <pc:sldLayoutMk cId="3745288481" sldId="2147484983"/>
          </pc:sldLayoutMkLst>
        </pc:sldLayoutChg>
        <pc:sldLayoutChg chg="del">
          <pc:chgData name="James Serra" userId="8ac5bb8964d8f761" providerId="LiveId" clId="{FC310332-FC92-4ACD-81FC-0A824A7E7784}" dt="2017-12-08T04:31:55.686" v="243" actId="2696"/>
          <pc:sldLayoutMkLst>
            <pc:docMk/>
            <pc:sldMasterMk cId="4095171701" sldId="2147484981"/>
            <pc:sldLayoutMk cId="4098471090" sldId="2147484984"/>
          </pc:sldLayoutMkLst>
        </pc:sldLayoutChg>
        <pc:sldLayoutChg chg="del">
          <pc:chgData name="James Serra" userId="8ac5bb8964d8f761" providerId="LiveId" clId="{FC310332-FC92-4ACD-81FC-0A824A7E7784}" dt="2017-12-08T04:31:55.637" v="242" actId="2696"/>
          <pc:sldLayoutMkLst>
            <pc:docMk/>
            <pc:sldMasterMk cId="4095171701" sldId="2147484981"/>
            <pc:sldLayoutMk cId="45556327" sldId="2147484985"/>
          </pc:sldLayoutMkLst>
        </pc:sldLayoutChg>
        <pc:sldLayoutChg chg="del">
          <pc:chgData name="James Serra" userId="8ac5bb8964d8f761" providerId="LiveId" clId="{FC310332-FC92-4ACD-81FC-0A824A7E7784}" dt="2017-12-08T04:31:55.589" v="241" actId="2696"/>
          <pc:sldLayoutMkLst>
            <pc:docMk/>
            <pc:sldMasterMk cId="4095171701" sldId="2147484981"/>
            <pc:sldLayoutMk cId="2852786483" sldId="2147484986"/>
          </pc:sldLayoutMkLst>
        </pc:sldLayoutChg>
        <pc:sldLayoutChg chg="del">
          <pc:chgData name="James Serra" userId="8ac5bb8964d8f761" providerId="LiveId" clId="{FC310332-FC92-4ACD-81FC-0A824A7E7784}" dt="2017-12-08T04:31:55.539" v="240" actId="2696"/>
          <pc:sldLayoutMkLst>
            <pc:docMk/>
            <pc:sldMasterMk cId="4095171701" sldId="2147484981"/>
            <pc:sldLayoutMk cId="3963891126" sldId="2147484987"/>
          </pc:sldLayoutMkLst>
        </pc:sldLayoutChg>
        <pc:sldLayoutChg chg="del">
          <pc:chgData name="James Serra" userId="8ac5bb8964d8f761" providerId="LiveId" clId="{FC310332-FC92-4ACD-81FC-0A824A7E7784}" dt="2017-12-08T04:31:55.484" v="239" actId="2696"/>
          <pc:sldLayoutMkLst>
            <pc:docMk/>
            <pc:sldMasterMk cId="4095171701" sldId="2147484981"/>
            <pc:sldLayoutMk cId="2556171681" sldId="2147484988"/>
          </pc:sldLayoutMkLst>
        </pc:sldLayoutChg>
        <pc:sldLayoutChg chg="del">
          <pc:chgData name="James Serra" userId="8ac5bb8964d8f761" providerId="LiveId" clId="{FC310332-FC92-4ACD-81FC-0A824A7E7784}" dt="2017-12-08T04:31:55.434" v="238" actId="2696"/>
          <pc:sldLayoutMkLst>
            <pc:docMk/>
            <pc:sldMasterMk cId="4095171701" sldId="2147484981"/>
            <pc:sldLayoutMk cId="1146983875" sldId="2147484989"/>
          </pc:sldLayoutMkLst>
        </pc:sldLayoutChg>
        <pc:sldLayoutChg chg="del">
          <pc:chgData name="James Serra" userId="8ac5bb8964d8f761" providerId="LiveId" clId="{FC310332-FC92-4ACD-81FC-0A824A7E7784}" dt="2017-12-08T04:31:55.383" v="237" actId="2696"/>
          <pc:sldLayoutMkLst>
            <pc:docMk/>
            <pc:sldMasterMk cId="4095171701" sldId="2147484981"/>
            <pc:sldLayoutMk cId="980430898" sldId="2147484990"/>
          </pc:sldLayoutMkLst>
        </pc:sldLayoutChg>
        <pc:sldLayoutChg chg="del">
          <pc:chgData name="James Serra" userId="8ac5bb8964d8f761" providerId="LiveId" clId="{FC310332-FC92-4ACD-81FC-0A824A7E7784}" dt="2017-12-08T04:31:55.331" v="236" actId="2696"/>
          <pc:sldLayoutMkLst>
            <pc:docMk/>
            <pc:sldMasterMk cId="4095171701" sldId="2147484981"/>
            <pc:sldLayoutMk cId="452417366" sldId="2147484991"/>
          </pc:sldLayoutMkLst>
        </pc:sldLayoutChg>
        <pc:sldLayoutChg chg="del">
          <pc:chgData name="James Serra" userId="8ac5bb8964d8f761" providerId="LiveId" clId="{FC310332-FC92-4ACD-81FC-0A824A7E7784}" dt="2017-12-08T04:31:55.277" v="235" actId="2696"/>
          <pc:sldLayoutMkLst>
            <pc:docMk/>
            <pc:sldMasterMk cId="4095171701" sldId="2147484981"/>
            <pc:sldLayoutMk cId="2467676604" sldId="2147484992"/>
          </pc:sldLayoutMkLst>
        </pc:sldLayoutChg>
        <pc:sldLayoutChg chg="del">
          <pc:chgData name="James Serra" userId="8ac5bb8964d8f761" providerId="LiveId" clId="{FC310332-FC92-4ACD-81FC-0A824A7E7784}" dt="2017-12-08T04:31:55.216" v="234" actId="2696"/>
          <pc:sldLayoutMkLst>
            <pc:docMk/>
            <pc:sldMasterMk cId="4095171701" sldId="2147484981"/>
            <pc:sldLayoutMk cId="2601586610" sldId="2147484993"/>
          </pc:sldLayoutMkLst>
        </pc:sldLayoutChg>
        <pc:sldLayoutChg chg="del">
          <pc:chgData name="James Serra" userId="8ac5bb8964d8f761" providerId="LiveId" clId="{FC310332-FC92-4ACD-81FC-0A824A7E7784}" dt="2017-12-08T04:31:55.158" v="233" actId="2696"/>
          <pc:sldLayoutMkLst>
            <pc:docMk/>
            <pc:sldMasterMk cId="4095171701" sldId="2147484981"/>
            <pc:sldLayoutMk cId="2527553377" sldId="2147484994"/>
          </pc:sldLayoutMkLst>
        </pc:sldLayoutChg>
        <pc:sldLayoutChg chg="del">
          <pc:chgData name="James Serra" userId="8ac5bb8964d8f761" providerId="LiveId" clId="{FC310332-FC92-4ACD-81FC-0A824A7E7784}" dt="2017-12-08T04:31:55.104" v="232" actId="2696"/>
          <pc:sldLayoutMkLst>
            <pc:docMk/>
            <pc:sldMasterMk cId="4095171701" sldId="2147484981"/>
            <pc:sldLayoutMk cId="1802401167" sldId="2147484995"/>
          </pc:sldLayoutMkLst>
        </pc:sldLayoutChg>
        <pc:sldLayoutChg chg="del">
          <pc:chgData name="James Serra" userId="8ac5bb8964d8f761" providerId="LiveId" clId="{FC310332-FC92-4ACD-81FC-0A824A7E7784}" dt="2017-12-08T04:31:55.049" v="231" actId="2696"/>
          <pc:sldLayoutMkLst>
            <pc:docMk/>
            <pc:sldMasterMk cId="4095171701" sldId="2147484981"/>
            <pc:sldLayoutMk cId="1234596609" sldId="2147484996"/>
          </pc:sldLayoutMkLst>
        </pc:sldLayoutChg>
        <pc:sldLayoutChg chg="del">
          <pc:chgData name="James Serra" userId="8ac5bb8964d8f761" providerId="LiveId" clId="{FC310332-FC92-4ACD-81FC-0A824A7E7784}" dt="2017-12-08T04:31:54.987" v="230" actId="2696"/>
          <pc:sldLayoutMkLst>
            <pc:docMk/>
            <pc:sldMasterMk cId="4095171701" sldId="2147484981"/>
            <pc:sldLayoutMk cId="2297372311" sldId="2147484998"/>
          </pc:sldLayoutMkLst>
        </pc:sldLayoutChg>
      </pc:sldMasterChg>
      <pc:sldMasterChg chg="delSldLayout">
        <pc:chgData name="James Serra" userId="8ac5bb8964d8f761" providerId="LiveId" clId="{FC310332-FC92-4ACD-81FC-0A824A7E7784}" dt="2017-12-08T04:31:56.455" v="256" actId="2696"/>
        <pc:sldMasterMkLst>
          <pc:docMk/>
          <pc:sldMasterMk cId="3560891016" sldId="2147484999"/>
        </pc:sldMasterMkLst>
        <pc:sldLayoutChg chg="del">
          <pc:chgData name="James Serra" userId="8ac5bb8964d8f761" providerId="LiveId" clId="{FC310332-FC92-4ACD-81FC-0A824A7E7784}" dt="2017-12-08T04:31:56.455" v="256" actId="2696"/>
          <pc:sldLayoutMkLst>
            <pc:docMk/>
            <pc:sldMasterMk cId="3560891016" sldId="2147484999"/>
            <pc:sldLayoutMk cId="466198214" sldId="2147485000"/>
          </pc:sldLayoutMkLst>
        </pc:sldLayoutChg>
        <pc:sldLayoutChg chg="del">
          <pc:chgData name="James Serra" userId="8ac5bb8964d8f761" providerId="LiveId" clId="{FC310332-FC92-4ACD-81FC-0A824A7E7784}" dt="2017-12-08T04:31:56.337" v="255" actId="2696"/>
          <pc:sldLayoutMkLst>
            <pc:docMk/>
            <pc:sldMasterMk cId="3560891016" sldId="2147484999"/>
            <pc:sldLayoutMk cId="1019091104" sldId="2147485001"/>
          </pc:sldLayoutMkLst>
        </pc:sldLayoutChg>
        <pc:sldLayoutChg chg="del">
          <pc:chgData name="James Serra" userId="8ac5bb8964d8f761" providerId="LiveId" clId="{FC310332-FC92-4ACD-81FC-0A824A7E7784}" dt="2017-12-08T04:31:56.295" v="254" actId="2696"/>
          <pc:sldLayoutMkLst>
            <pc:docMk/>
            <pc:sldMasterMk cId="3560891016" sldId="2147484999"/>
            <pc:sldLayoutMk cId="968057182" sldId="2147485002"/>
          </pc:sldLayoutMkLst>
        </pc:sldLayoutChg>
        <pc:sldLayoutChg chg="del">
          <pc:chgData name="James Serra" userId="8ac5bb8964d8f761" providerId="LiveId" clId="{FC310332-FC92-4ACD-81FC-0A824A7E7784}" dt="2017-12-08T04:31:56.251" v="253" actId="2696"/>
          <pc:sldLayoutMkLst>
            <pc:docMk/>
            <pc:sldMasterMk cId="3560891016" sldId="2147484999"/>
            <pc:sldLayoutMk cId="2862442589" sldId="2147485005"/>
          </pc:sldLayoutMkLst>
        </pc:sldLayoutChg>
        <pc:sldLayoutChg chg="del">
          <pc:chgData name="James Serra" userId="8ac5bb8964d8f761" providerId="LiveId" clId="{FC310332-FC92-4ACD-81FC-0A824A7E7784}" dt="2017-12-08T04:31:56.212" v="252" actId="2696"/>
          <pc:sldLayoutMkLst>
            <pc:docMk/>
            <pc:sldMasterMk cId="3560891016" sldId="2147484999"/>
            <pc:sldLayoutMk cId="1048244142" sldId="2147485006"/>
          </pc:sldLayoutMkLst>
        </pc:sldLayoutChg>
        <pc:sldLayoutChg chg="del">
          <pc:chgData name="James Serra" userId="8ac5bb8964d8f761" providerId="LiveId" clId="{FC310332-FC92-4ACD-81FC-0A824A7E7784}" dt="2017-12-08T04:31:56.172" v="251" actId="2696"/>
          <pc:sldLayoutMkLst>
            <pc:docMk/>
            <pc:sldMasterMk cId="3560891016" sldId="2147484999"/>
            <pc:sldLayoutMk cId="634394072" sldId="2147485008"/>
          </pc:sldLayoutMkLst>
        </pc:sldLayoutChg>
        <pc:sldLayoutChg chg="del">
          <pc:chgData name="James Serra" userId="8ac5bb8964d8f761" providerId="LiveId" clId="{FC310332-FC92-4ACD-81FC-0A824A7E7784}" dt="2017-12-08T04:31:56.085" v="250" actId="2696"/>
          <pc:sldLayoutMkLst>
            <pc:docMk/>
            <pc:sldMasterMk cId="3560891016" sldId="2147484999"/>
            <pc:sldLayoutMk cId="1372115499" sldId="2147485009"/>
          </pc:sldLayoutMkLst>
        </pc:sldLayoutChg>
        <pc:sldLayoutChg chg="del">
          <pc:chgData name="James Serra" userId="8ac5bb8964d8f761" providerId="LiveId" clId="{FC310332-FC92-4ACD-81FC-0A824A7E7784}" dt="2017-12-08T04:31:56.043" v="249" actId="2696"/>
          <pc:sldLayoutMkLst>
            <pc:docMk/>
            <pc:sldMasterMk cId="3560891016" sldId="2147484999"/>
            <pc:sldLayoutMk cId="43914948" sldId="2147485010"/>
          </pc:sldLayoutMkLst>
        </pc:sldLayoutChg>
        <pc:sldLayoutChg chg="del">
          <pc:chgData name="James Serra" userId="8ac5bb8964d8f761" providerId="LiveId" clId="{FC310332-FC92-4ACD-81FC-0A824A7E7784}" dt="2017-12-08T04:31:55.977" v="248" actId="2696"/>
          <pc:sldLayoutMkLst>
            <pc:docMk/>
            <pc:sldMasterMk cId="3560891016" sldId="2147484999"/>
            <pc:sldLayoutMk cId="3652446431" sldId="2147485013"/>
          </pc:sldLayoutMkLst>
        </pc:sldLayoutChg>
        <pc:sldLayoutChg chg="del">
          <pc:chgData name="James Serra" userId="8ac5bb8964d8f761" providerId="LiveId" clId="{FC310332-FC92-4ACD-81FC-0A824A7E7784}" dt="2017-12-08T04:31:55.879" v="247" actId="2696"/>
          <pc:sldLayoutMkLst>
            <pc:docMk/>
            <pc:sldMasterMk cId="3560891016" sldId="2147484999"/>
            <pc:sldLayoutMk cId="2383431419" sldId="2147485014"/>
          </pc:sldLayoutMkLst>
        </pc:sldLayoutChg>
        <pc:sldLayoutChg chg="del">
          <pc:chgData name="James Serra" userId="8ac5bb8964d8f761" providerId="LiveId" clId="{FC310332-FC92-4ACD-81FC-0A824A7E7784}" dt="2017-12-08T04:31:55.829" v="246" actId="2696"/>
          <pc:sldLayoutMkLst>
            <pc:docMk/>
            <pc:sldMasterMk cId="3560891016" sldId="2147484999"/>
            <pc:sldLayoutMk cId="1192194597" sldId="2147485015"/>
          </pc:sldLayoutMkLst>
        </pc:sldLayoutChg>
      </pc:sldMasterChg>
    </pc:docChg>
  </pc:docChgLst>
  <pc:docChgLst>
    <pc:chgData name="James Serra" userId="8ac5bb8964d8f761" providerId="LiveId" clId="{8ED5D1A0-719F-4D0D-A33B-126E681BA4B3}"/>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emf"/><Relationship Id="rId1" Type="http://schemas.openxmlformats.org/officeDocument/2006/relationships/image" Target="../media/image68.emf"/><Relationship Id="rId4" Type="http://schemas.openxmlformats.org/officeDocument/2006/relationships/image" Target="../media/image7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image" Target="../media/image7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3A108-0A57-49B7-99E9-E381755AA0CD}" type="datetimeFigureOut">
              <a:rPr lang="en-US" smtClean="0"/>
              <a:t>12/7/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233C8-27DA-4405-B9F6-B8ED03A6B0F6}" type="slidenum">
              <a:rPr lang="en-US" smtClean="0"/>
              <a:t>‹#›</a:t>
            </a:fld>
            <a:endParaRPr lang="en-US"/>
          </a:p>
        </p:txBody>
      </p:sp>
    </p:spTree>
    <p:extLst>
      <p:ext uri="{BB962C8B-B14F-4D97-AF65-F5344CB8AC3E}">
        <p14:creationId xmlns:p14="http://schemas.microsoft.com/office/powerpoint/2010/main" val="96162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documentdb/documentdb-consistency-level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documentdb/documentdb-introduction" TargetMode="External"/><Relationship Id="rId2" Type="http://schemas.openxmlformats.org/officeDocument/2006/relationships/slide" Target="../slides/slide43.xml"/><Relationship Id="rId1" Type="http://schemas.openxmlformats.org/officeDocument/2006/relationships/notesMaster" Target="../notesMasters/notesMaster1.xml"/><Relationship Id="rId6" Type="http://schemas.openxmlformats.org/officeDocument/2006/relationships/hyperlink" Target="https://docs.microsoft.com/en-us/azure/cosmos-db/table-introduction" TargetMode="External"/><Relationship Id="rId5" Type="http://schemas.openxmlformats.org/officeDocument/2006/relationships/hyperlink" Target="https://docs.microsoft.com/en-us/azure/documentdb/documentdb-protocol-mongodb" TargetMode="External"/><Relationship Id="rId4" Type="http://schemas.openxmlformats.org/officeDocument/2006/relationships/hyperlink" Target="https://docs.microsoft.com/en-us/azure/cosmos-db/graph-introduction"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3573B-5F89-41B4-883D-4A2852AD67B8}"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411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Azure Analysis Services is based on SQL Server 2016 Analysis Services technolog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This means that BI professionals who are familiar with SQL Server Analysis Services, tabular models can get started quickly and do not need to learn new tools or skills. </a:t>
            </a:r>
          </a:p>
          <a:p>
            <a:endParaRPr lang="en-US" dirty="0"/>
          </a:p>
          <a:p>
            <a:r>
              <a:rPr lang="en-US" sz="900" dirty="0">
                <a:solidFill>
                  <a:schemeClr val="accent1"/>
                </a:solidFill>
              </a:rPr>
              <a:t>That includes the flexibility to develop in the familiar Visual Studio environment</a:t>
            </a:r>
            <a:r>
              <a:rPr lang="en-US" sz="900" baseline="0" dirty="0">
                <a:solidFill>
                  <a:schemeClr val="accent1"/>
                </a:solidFill>
              </a:rPr>
              <a:t> and take advantage of </a:t>
            </a:r>
            <a:r>
              <a:rPr lang="en-US" sz="900" b="0" kern="0" dirty="0">
                <a:solidFill>
                  <a:schemeClr val="accent1"/>
                </a:solidFill>
              </a:rPr>
              <a:t>Visual Studio Application Lifecycle Management</a:t>
            </a:r>
          </a:p>
          <a:p>
            <a:endParaRPr lang="en-US" sz="1200" b="0" kern="0" dirty="0">
              <a:solidFill>
                <a:schemeClr val="accent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4174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a:t>
            </a:r>
          </a:p>
          <a:p>
            <a:r>
              <a:rPr lang="en-US" sz="1200" b="0" kern="1200" dirty="0">
                <a:solidFill>
                  <a:schemeClr val="tx1"/>
                </a:solidFill>
                <a:effectLst/>
                <a:latin typeface="+mn-lt"/>
                <a:ea typeface="+mn-ea"/>
                <a:cs typeface="+mn-cs"/>
              </a:rPr>
              <a:t>Proven analytics engine with the benefits of the clou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by moving to the cloud customers can get started quickly, it takes only seconds to spin up a server. </a:t>
            </a:r>
          </a:p>
          <a:p>
            <a:r>
              <a:rPr lang="en-US" sz="1200" kern="1200" dirty="0">
                <a:solidFill>
                  <a:schemeClr val="tx1"/>
                </a:solidFill>
                <a:effectLst/>
                <a:latin typeface="+mn-lt"/>
                <a:ea typeface="+mn-ea"/>
                <a:cs typeface="+mn-cs"/>
              </a:rPr>
              <a:t>With 99.9% availability data can be accessed when needed, and secured access to data can be provided from virtually anywhere. </a:t>
            </a:r>
          </a:p>
          <a:p>
            <a:endParaRPr lang="en-US" dirty="0"/>
          </a:p>
          <a:p>
            <a:r>
              <a:rPr lang="en-US" sz="1200" kern="1200" dirty="0">
                <a:solidFill>
                  <a:schemeClr val="tx1"/>
                </a:solidFill>
                <a:effectLst/>
                <a:latin typeface="+mn-lt"/>
                <a:ea typeface="+mn-ea"/>
                <a:cs typeface="+mn-cs"/>
              </a:rPr>
              <a:t>Customers can also pause the service to only pay for what they use. With the ability to scale the service up and down –customers get the performance they need when needed.</a:t>
            </a:r>
          </a:p>
          <a:p>
            <a:r>
              <a:rPr lang="en-US" sz="1200" kern="1200" dirty="0">
                <a:solidFill>
                  <a:schemeClr val="tx1"/>
                </a:solidFill>
                <a:effectLst/>
                <a:latin typeface="+mn-lt"/>
                <a:ea typeface="+mn-ea"/>
                <a:cs typeface="+mn-cs"/>
              </a:rPr>
              <a:t>With Azure Analysis Services customers, can rely on Microsoft’s experience running trusted enterprise cloud services!</a:t>
            </a:r>
          </a:p>
          <a:p>
            <a:endParaRPr lang="en-US" dirty="0"/>
          </a:p>
          <a:p>
            <a:r>
              <a:rPr lang="en-US" dirty="0"/>
              <a:t>include message around move your existing models with</a:t>
            </a:r>
            <a:r>
              <a:rPr lang="en-US" baseline="0" dirty="0"/>
              <a:t> the new backup and restore featur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753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 Provides a quick overview of</a:t>
            </a:r>
            <a:r>
              <a:rPr lang="en-US" baseline="0" dirty="0"/>
              <a:t> available service tiers.  </a:t>
            </a:r>
            <a:r>
              <a:rPr lang="en-US" sz="900" kern="1200" dirty="0">
                <a:solidFill>
                  <a:schemeClr val="tx1"/>
                </a:solidFill>
                <a:effectLst/>
                <a:latin typeface="Segoe UI Light" pitchFamily="34" charset="0"/>
                <a:ea typeface="+mn-ea"/>
                <a:cs typeface="+mn-cs"/>
              </a:rPr>
              <a:t>Azure Analysis Services service tiers include </a:t>
            </a:r>
            <a:r>
              <a:rPr lang="en-US" sz="900" b="1" kern="1200" dirty="0">
                <a:solidFill>
                  <a:schemeClr val="tx1"/>
                </a:solidFill>
                <a:effectLst/>
                <a:latin typeface="Segoe UI Light" pitchFamily="34" charset="0"/>
                <a:ea typeface="+mn-ea"/>
                <a:cs typeface="+mn-cs"/>
              </a:rPr>
              <a:t>Developer, Basic </a:t>
            </a:r>
            <a:r>
              <a:rPr lang="en-US" sz="900" kern="1200" dirty="0">
                <a:solidFill>
                  <a:schemeClr val="tx1"/>
                </a:solidFill>
                <a:effectLst/>
                <a:latin typeface="Segoe UI Light" pitchFamily="34" charset="0"/>
                <a:ea typeface="+mn-ea"/>
                <a:cs typeface="+mn-cs"/>
              </a:rPr>
              <a:t>and </a:t>
            </a:r>
            <a:r>
              <a:rPr lang="en-US" sz="900" b="1" kern="1200" dirty="0">
                <a:solidFill>
                  <a:schemeClr val="tx1"/>
                </a:solidFill>
                <a:effectLst/>
                <a:latin typeface="Segoe UI Light" pitchFamily="34" charset="0"/>
                <a:ea typeface="+mn-ea"/>
                <a:cs typeface="+mn-cs"/>
              </a:rPr>
              <a:t>Standard. </a:t>
            </a:r>
            <a:r>
              <a:rPr lang="en-US" sz="900" kern="1200" dirty="0">
                <a:solidFill>
                  <a:schemeClr val="tx1"/>
                </a:solidFill>
                <a:effectLst/>
                <a:latin typeface="Segoe UI Light" pitchFamily="34" charset="0"/>
                <a:ea typeface="+mn-ea"/>
                <a:cs typeface="+mn-cs"/>
              </a:rPr>
              <a:t>Each tier is distinguished primarily by its overall performance, which is measured in QPUs (Query Processing Units).</a:t>
            </a:r>
          </a:p>
          <a:p>
            <a:r>
              <a:rPr lang="en-US" sz="900" kern="1200" dirty="0">
                <a:solidFill>
                  <a:schemeClr val="tx1"/>
                </a:solidFill>
                <a:effectLst/>
                <a:latin typeface="Segoe UI Light" pitchFamily="34" charset="0"/>
                <a:ea typeface="+mn-ea"/>
                <a:cs typeface="+mn-cs"/>
              </a:rPr>
              <a:t>Standard and developer tiers are further differentiated by the availability of</a:t>
            </a:r>
            <a:r>
              <a:rPr lang="en-US" sz="900" kern="1200" baseline="0" dirty="0">
                <a:solidFill>
                  <a:schemeClr val="tx1"/>
                </a:solidFill>
                <a:effectLst/>
                <a:latin typeface="Segoe UI Light" pitchFamily="34" charset="0"/>
                <a:ea typeface="+mn-ea"/>
                <a:cs typeface="+mn-cs"/>
              </a:rPr>
              <a:t> the Partition feature that provides customers advanced data refresh controls</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For latest pricing go to the pricing page.</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717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high-level architecture view. </a:t>
            </a:r>
          </a:p>
          <a:p>
            <a:endParaRPr lang="en-US" dirty="0"/>
          </a:p>
          <a:p>
            <a:r>
              <a:rPr lang="en-US" dirty="0"/>
              <a:t>Analysis Services is now part of the cloud solution.  If your data sources are all in the cloud such as Azure SQL DW and SQL Database, no on-premises infrastructure is required. Client such as Power BI Desktop, Excel, and 3</a:t>
            </a:r>
            <a:r>
              <a:rPr lang="en-US" baseline="30000" dirty="0"/>
              <a:t>rd</a:t>
            </a:r>
            <a:r>
              <a:rPr lang="en-US" dirty="0"/>
              <a:t> party tools connect directly to the cloud.  For Azure Analysis Services to access on-premises data sources, the On-premises data gateway is required.  One per Analysis Services server is required to support the volume and performance requirements of the Azure Analysis Services workloa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421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zure Analysis Services works just like SQL Server Analysis services (for tabular models), supports data sources on-premises and in the cloud, and consume using your preferred data visualization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Analysis Services is based on SQL Server 2016 Analysis Services technology. In preview, we are focusing on tabular models only. Data can be accessed on-premises and in the cloud and business users and BI professionals can consume the data on-mobile devices, on the web and in custom 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is means that BI professionals who are familiar with SQL Server Analysis Services, tabular models can get started quickly and do not need to learn new tools or skills. </a:t>
            </a:r>
          </a:p>
          <a:p>
            <a:endParaRPr lang="en-US" dirty="0"/>
          </a:p>
          <a:p>
            <a:r>
              <a:rPr lang="en-US" sz="1200" dirty="0">
                <a:solidFill>
                  <a:schemeClr val="accent1"/>
                </a:solidFill>
              </a:rPr>
              <a:t>Develop in the familiar Visual Studio environment</a:t>
            </a:r>
            <a:r>
              <a:rPr lang="en-US" sz="1200" baseline="0" dirty="0">
                <a:solidFill>
                  <a:schemeClr val="accent1"/>
                </a:solidFill>
              </a:rPr>
              <a:t> and take advantage of </a:t>
            </a:r>
            <a:r>
              <a:rPr lang="en-US" sz="1200" b="0" kern="0" dirty="0">
                <a:solidFill>
                  <a:schemeClr val="accent1"/>
                </a:solidFill>
              </a:rPr>
              <a:t>Visual Studio Application Lifecycle 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050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672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392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220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8779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2417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3391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251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1443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3457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427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88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495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917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356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0748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9736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Azure Database for MariaDB, PostgreSQL, MySQL</a:t>
            </a:r>
          </a:p>
          <a:p>
            <a:pPr marL="0" lvl="0" indent="0">
              <a:buFont typeface="Arial" panose="020B0604020202020204" pitchFamily="34" charset="0"/>
              <a:buNone/>
            </a:pPr>
            <a:r>
              <a:rPr lang="en-US" sz="1200"/>
              <a:t>Azure </a:t>
            </a:r>
            <a:r>
              <a:rPr lang="en-US" sz="1200" dirty="0"/>
              <a:t>Cosmos DB with Apache Cassandra API (MongoDB)</a:t>
            </a:r>
          </a:p>
          <a:p>
            <a:pPr lvl="0"/>
            <a:r>
              <a:rPr lang="en-US" sz="1200" kern="1200" dirty="0">
                <a:solidFill>
                  <a:schemeClr val="tx1"/>
                </a:solidFill>
                <a:effectLst/>
                <a:latin typeface="+mn-lt"/>
                <a:ea typeface="+mn-ea"/>
                <a:cs typeface="+mn-cs"/>
              </a:rPr>
              <a:t>Azure time series</a:t>
            </a:r>
          </a:p>
          <a:p>
            <a:pPr marL="0" lvl="0" indent="0">
              <a:buFont typeface="Arial" panose="020B0604020202020204" pitchFamily="34" charset="0"/>
              <a:buNone/>
            </a:pPr>
            <a:r>
              <a:rPr lang="en-US" sz="1200" dirty="0"/>
              <a:t>Cognitive Services, Bots</a:t>
            </a:r>
          </a:p>
          <a:p>
            <a:endParaRPr lang="en-US" dirty="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36106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655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0207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4AFC52-AD7A-4840-94AF-0B6810BB3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8589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7525C-978A-49F9-8C71-7CF995BBF9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8096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3280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956215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25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mn-lt"/>
              </a:rPr>
              <a:t>Azure Cosmos DB </a:t>
            </a:r>
            <a:r>
              <a:rPr lang="en-US" sz="1200" dirty="0">
                <a:latin typeface="+mn-lt"/>
              </a:rPr>
              <a:t>offers the first globally distributed, multi-model database service for building planet scale apps. It’s been powering Microsoft’s internet-scale services for years, and now it’s ready to launch yours.</a:t>
            </a:r>
          </a:p>
          <a:p>
            <a:r>
              <a:rPr lang="en-US" sz="1200" dirty="0">
                <a:latin typeface="+mn-lt"/>
              </a:rPr>
              <a:t>Only Azure Cosmos DB makes </a:t>
            </a:r>
            <a:r>
              <a:rPr lang="en-US" sz="1200" b="1" dirty="0">
                <a:latin typeface="+mn-lt"/>
              </a:rPr>
              <a:t>global distribution turn-key</a:t>
            </a:r>
            <a:r>
              <a:rPr lang="en-US" sz="1200" dirty="0">
                <a:latin typeface="+mn-lt"/>
              </a:rPr>
              <a:t>.  </a:t>
            </a:r>
          </a:p>
          <a:p>
            <a:endParaRPr lang="en-US" sz="1200" dirty="0">
              <a:latin typeface="+mn-lt"/>
            </a:endParaRPr>
          </a:p>
          <a:p>
            <a:r>
              <a:rPr lang="en-US" sz="1200" dirty="0">
                <a:latin typeface="+mn-lt"/>
              </a:rPr>
              <a:t>You can </a:t>
            </a:r>
            <a:r>
              <a:rPr lang="en-US" sz="1200" b="1" dirty="0">
                <a:latin typeface="+mn-lt"/>
              </a:rPr>
              <a:t>add Azure locations to your database anywhere across the world</a:t>
            </a:r>
            <a:r>
              <a:rPr lang="en-US" sz="1200" dirty="0">
                <a:latin typeface="+mn-lt"/>
              </a:rPr>
              <a:t>, at any time, with a single click. Cosmos DB will seamlessly replicate your data and make it highly available. </a:t>
            </a:r>
          </a:p>
          <a:p>
            <a:r>
              <a:rPr lang="en-US" sz="1200" dirty="0">
                <a:latin typeface="+mn-lt"/>
              </a:rPr>
              <a:t> </a:t>
            </a:r>
          </a:p>
          <a:p>
            <a:r>
              <a:rPr lang="en-US" sz="1200" dirty="0">
                <a:latin typeface="+mn-lt"/>
              </a:rPr>
              <a:t>Cosmos DB allows you to </a:t>
            </a:r>
            <a:r>
              <a:rPr lang="en-US" sz="1200" b="1" dirty="0">
                <a:latin typeface="+mn-lt"/>
              </a:rPr>
              <a:t>scale throughput and storage elastically</a:t>
            </a:r>
            <a:r>
              <a:rPr lang="en-US" sz="1200" dirty="0">
                <a:latin typeface="+mn-lt"/>
              </a:rPr>
              <a:t>, and </a:t>
            </a:r>
            <a:r>
              <a:rPr lang="en-US" sz="1200" b="1" dirty="0">
                <a:latin typeface="+mn-lt"/>
              </a:rPr>
              <a:t>globally</a:t>
            </a:r>
            <a:r>
              <a:rPr lang="en-US" sz="1200" dirty="0">
                <a:latin typeface="+mn-lt"/>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1681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2000" dirty="0"/>
              <a:t>So, how does Azure Cosmos DB enable applications to achieve this. Cosmos DB is built as a globally distributed database from the ground up. Every database account can be associated with any number of Azure regions and the data will replicate data automatically, synchronously, and durably </a:t>
            </a:r>
            <a:r>
              <a:rPr lang="en-US" sz="2000" kern="1200" dirty="0">
                <a:solidFill>
                  <a:schemeClr val="tx1"/>
                </a:solidFill>
                <a:effectLst/>
                <a:latin typeface="Segoe UI Light" pitchFamily="34" charset="0"/>
                <a:ea typeface="+mn-ea"/>
                <a:cs typeface="+mn-cs"/>
              </a:rPr>
              <a:t>. </a:t>
            </a:r>
          </a:p>
          <a:p>
            <a:pPr defTabSz="913417">
              <a:lnSpc>
                <a:spcPct val="100000"/>
              </a:lnSpc>
              <a:spcAft>
                <a:spcPts val="0"/>
              </a:spcAft>
              <a:defRPr/>
            </a:pPr>
            <a:endParaRPr lang="en-US" sz="2000" kern="1200" dirty="0">
              <a:solidFill>
                <a:schemeClr val="tx1"/>
              </a:solidFill>
              <a:effectLst/>
              <a:latin typeface="Segoe UI Light" pitchFamily="34" charset="0"/>
              <a:ea typeface="+mn-ea"/>
              <a:cs typeface="+mn-cs"/>
            </a:endParaRPr>
          </a:p>
          <a:p>
            <a:pPr defTabSz="913417">
              <a:lnSpc>
                <a:spcPct val="100000"/>
              </a:lnSpc>
              <a:spcAft>
                <a:spcPts val="0"/>
              </a:spcAft>
              <a:defRPr/>
            </a:pPr>
            <a:r>
              <a:rPr lang="en-US" sz="2000" kern="1200" dirty="0">
                <a:solidFill>
                  <a:schemeClr val="tx1"/>
                </a:solidFill>
                <a:effectLst/>
                <a:latin typeface="Segoe UI Light" pitchFamily="34" charset="0"/>
                <a:ea typeface="+mn-ea"/>
                <a:cs typeface="+mn-cs"/>
              </a:rPr>
              <a:t>Azure Cosmos DB powers Microsoft’s mission critical applications and it took many years of in its making. </a:t>
            </a:r>
            <a:r>
              <a:rPr lang="en-US" sz="1200" kern="1200" dirty="0">
                <a:solidFill>
                  <a:schemeClr val="tx1"/>
                </a:solidFill>
                <a:effectLst/>
                <a:latin typeface="Segoe UI Light" pitchFamily="34" charset="0"/>
                <a:ea typeface="+mn-ea"/>
                <a:cs typeface="+mn-cs"/>
              </a:rPr>
              <a:t>Within a given region, all resources are horizontally partitioned using resource partitions (</a:t>
            </a:r>
            <a:r>
              <a:rPr lang="en-US" sz="1200" i="1" kern="1200" dirty="0">
                <a:solidFill>
                  <a:schemeClr val="tx1"/>
                </a:solidFill>
                <a:effectLst/>
                <a:latin typeface="Segoe UI Light" pitchFamily="34" charset="0"/>
                <a:ea typeface="+mn-ea"/>
                <a:cs typeface="+mn-cs"/>
              </a:rPr>
              <a:t>local distribution</a:t>
            </a:r>
            <a:r>
              <a:rPr lang="en-US" sz="1200" kern="1200" dirty="0">
                <a:solidFill>
                  <a:schemeClr val="tx1"/>
                </a:solidFill>
                <a:effectLst/>
                <a:latin typeface="Segoe UI Light" pitchFamily="34" charset="0"/>
                <a:ea typeface="+mn-ea"/>
                <a:cs typeface="+mn-cs"/>
              </a:rPr>
              <a:t>). Each resource partition is also replicated across geographical regions (</a:t>
            </a:r>
            <a:r>
              <a:rPr lang="en-US" sz="1200" i="1" kern="1200" dirty="0">
                <a:solidFill>
                  <a:schemeClr val="tx1"/>
                </a:solidFill>
                <a:effectLst/>
                <a:latin typeface="Segoe UI Light" pitchFamily="34" charset="0"/>
                <a:ea typeface="+mn-ea"/>
                <a:cs typeface="+mn-cs"/>
              </a:rPr>
              <a:t>global distribution</a:t>
            </a:r>
            <a:r>
              <a:rPr lang="en-US" sz="1200" kern="1200" dirty="0">
                <a:solidFill>
                  <a:schemeClr val="tx1"/>
                </a:solidFill>
                <a:effectLst/>
                <a:latin typeface="Segoe UI Light" pitchFamily="34" charset="0"/>
                <a:ea typeface="+mn-ea"/>
                <a:cs typeface="+mn-cs"/>
              </a:rPr>
              <a:t>). </a:t>
            </a:r>
            <a:endParaRPr lang="en-US" sz="2000" dirty="0"/>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b="1"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mprehensive SLA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First and only to offer comprehensive SLA for latency, throughput, availability and consistency</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0" marR="0" lvl="0" indent="0" algn="l" defTabSz="91341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31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smos DB is designed for customer to elastically scale throughput based on the application traffic patterns across different geographical regions to support fluctuating workloads varying both by geography and time. The system manages the partitions transparently without compromising the availability, consistency, latency or throughput of a Cosmos DB container. Throughput can be scaled from 100’s of requests/sec</a:t>
            </a:r>
            <a:r>
              <a:rPr lang="en-US" sz="1200" kern="1200" baseline="0" dirty="0">
                <a:solidFill>
                  <a:schemeClr val="tx1"/>
                </a:solidFill>
                <a:effectLst/>
                <a:latin typeface="Segoe UI Light" pitchFamily="34" charset="0"/>
                <a:ea typeface="+mn-ea"/>
                <a:cs typeface="+mn-cs"/>
              </a:rPr>
              <a:t> to several 100s of million requests/sec. Customers pay only for the throughput they need.</a:t>
            </a:r>
            <a:endParaRPr lang="en-US" sz="1200"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960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547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417">
              <a:lnSpc>
                <a:spcPct val="100000"/>
              </a:lnSpc>
              <a:spcAft>
                <a:spcPts val="0"/>
              </a:spcAft>
              <a:defRPr/>
            </a:pPr>
            <a:r>
              <a:rPr lang="en-US" sz="1200" dirty="0"/>
              <a:t>Cosmos DB guarantees low latency access by serving reads and writes from the local regions. This</a:t>
            </a:r>
            <a:r>
              <a:rPr lang="en-US" sz="1200" baseline="0" dirty="0"/>
              <a:t> helps your applications to beat the speed of light or network latency across regions.</a:t>
            </a:r>
          </a:p>
          <a:p>
            <a:pPr defTabSz="913417">
              <a:lnSpc>
                <a:spcPct val="100000"/>
              </a:lnSpc>
              <a:spcAft>
                <a:spcPts val="0"/>
              </a:spcAft>
              <a:defRPr/>
            </a:pPr>
            <a:endParaRPr lang="en-US" sz="1200" baseline="0" dirty="0"/>
          </a:p>
          <a:p>
            <a:pPr defTabSz="913417">
              <a:lnSpc>
                <a:spcPct val="100000"/>
              </a:lnSpc>
              <a:spcAft>
                <a:spcPts val="0"/>
              </a:spcAft>
              <a:defRPr/>
            </a:pPr>
            <a:r>
              <a:rPr lang="en-US" sz="1200" dirty="0"/>
              <a:t>Nucleus</a:t>
            </a:r>
            <a:r>
              <a:rPr lang="en-US" sz="1200" baseline="0" dirty="0"/>
              <a:t> of Cosmos DB is a </a:t>
            </a:r>
            <a:r>
              <a:rPr lang="en-US" sz="1200" dirty="0"/>
              <a:t>write optimized, latch-free database engine which is designed for Solid State Drives. The core design point is low latency and performance and global scale. </a:t>
            </a:r>
          </a:p>
          <a:p>
            <a:pPr defTabSz="913417">
              <a:lnSpc>
                <a:spcPct val="100000"/>
              </a:lnSpc>
              <a:spcAft>
                <a:spcPts val="0"/>
              </a:spcAft>
              <a:defRPr/>
            </a:pPr>
            <a:endParaRPr lang="en-US" sz="1200" dirty="0"/>
          </a:p>
          <a:p>
            <a:pPr defTabSz="913417">
              <a:lnSpc>
                <a:spcPct val="100000"/>
              </a:lnSpc>
              <a:spcAft>
                <a:spcPts val="0"/>
              </a:spcAft>
              <a:defRPr/>
            </a:pPr>
            <a:r>
              <a:rPr lang="en-US" sz="1200" dirty="0"/>
              <a:t>Cosmos DB indexes all your data automatically, synchronously at sustained ingestion rates. There is no overhead of secondary indexes as with other databases. Most</a:t>
            </a:r>
            <a:r>
              <a:rPr lang="en-US" sz="1200" baseline="0" dirty="0"/>
              <a:t> of us know the pain of managing indexes. Now imagine for a moment maintaining, managing, migrating indexes at global scale. It is almost impossible but with Azure Cosmos DB, you don’t have to. </a:t>
            </a:r>
            <a:r>
              <a:rPr lang="en-US" sz="1200" dirty="0"/>
              <a:t>At P99 Cosmos DB guarantees &lt;10ms latency for read access and &lt;15ms for write access. Most applications will experience even lower latency of under &lt;2ms for reads and &lt;6ms for writes.</a:t>
            </a:r>
          </a:p>
          <a:p>
            <a:pPr defTabSz="913417">
              <a:lnSpc>
                <a:spcPct val="100000"/>
              </a:lnSpc>
              <a:spcAft>
                <a:spcPts val="0"/>
              </a:spcAft>
              <a:defRPr/>
            </a:pPr>
            <a:endParaRPr lang="en-US" sz="1200" dirty="0"/>
          </a:p>
          <a:p>
            <a:pPr defTabSz="913417">
              <a:lnSpc>
                <a:spcPct val="100000"/>
              </a:lnSpc>
              <a:spcAft>
                <a:spcPts val="0"/>
              </a:spcAft>
              <a:defRPr/>
            </a:pPr>
            <a:r>
              <a:rPr lang="en-US" sz="1200" dirty="0"/>
              <a:t>Several of our large scale cloud services at Microsoft uses</a:t>
            </a:r>
            <a:r>
              <a:rPr lang="en-US" sz="1200" baseline="0" dirty="0"/>
              <a:t> Cosmos DB for low latency access. All the device telemetry from windows mobile devices is stored in a globally distributed database and with 100s of millions of devices out there, low latency was a key factor in deciding on the right data sto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0272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Cosmos DB exposes multiple well-defined consistency models</a:t>
            </a:r>
            <a:r>
              <a:rPr lang="en-US" dirty="0"/>
              <a:t>: Databases today only offer two extreme choices for consistency – “strong” consistency and “eventual” consistency. In contrast, Cosmos DB is the first production globally distributed database service to have harvested a set of useful consistency models from decades of research and have operationalized them. Cosmos DB offers </a:t>
            </a:r>
            <a:r>
              <a:rPr lang="en-US" dirty="0">
                <a:hlinkClick r:id="rId3"/>
              </a:rPr>
              <a:t>five well-defined consistency models</a:t>
            </a:r>
            <a:r>
              <a:rPr lang="en-US" dirty="0"/>
              <a:t> which provide clear tradeoffs with respect to latency/availability, backed by SL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dirty="0">
                <a:latin typeface="+mn-lt"/>
              </a:rPr>
              <a:t>While most database services force you to choose between strong or eventual consistency, Azure Cosmos DB provides </a:t>
            </a:r>
            <a:r>
              <a:rPr lang="en-US" sz="1200" b="1" dirty="0">
                <a:latin typeface="+mn-lt"/>
              </a:rPr>
              <a:t>multiple well-defined, intuitive consistency choices</a:t>
            </a:r>
            <a:r>
              <a:rPr lang="en-US" sz="1200" dirty="0">
                <a:latin typeface="+mn-lt"/>
              </a:rPr>
              <a:t> – so you can select just the right one for your app. </a:t>
            </a:r>
          </a:p>
          <a:p>
            <a:endParaRPr lang="en-US" sz="1200" dirty="0">
              <a:latin typeface="+mn-lt"/>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ets discuss the Cosmos DB - 5 well-defined, precise, consistency models to choose from</a:t>
            </a:r>
          </a:p>
          <a:p>
            <a:pPr marL="1085850" lvl="2" indent="-171450">
              <a:buFont typeface="Arial" panose="020B0604020202020204" pitchFamily="34" charset="0"/>
              <a:buChar char="•"/>
            </a:pPr>
            <a:r>
              <a:rPr lang="en-US" b="1" dirty="0"/>
              <a:t>Consistency Levels and guarantees</a:t>
            </a:r>
            <a:endParaRPr lang="en-US" dirty="0"/>
          </a:p>
          <a:p>
            <a:pPr marL="1085850" lvl="2" indent="-171450">
              <a:buFont typeface="Arial" panose="020B0604020202020204" pitchFamily="34" charset="0"/>
              <a:buChar char="•"/>
            </a:pPr>
            <a:r>
              <a:rPr lang="en-US" dirty="0"/>
              <a:t>Consistency </a:t>
            </a:r>
            <a:r>
              <a:rPr lang="en-US" dirty="0" err="1"/>
              <a:t>LevelGuarantees</a:t>
            </a:r>
            <a:endParaRPr lang="en-US" dirty="0"/>
          </a:p>
          <a:p>
            <a:pPr marL="1085850" lvl="2" indent="-171450">
              <a:buFont typeface="Arial" panose="020B0604020202020204" pitchFamily="34" charset="0"/>
              <a:buChar char="•"/>
            </a:pPr>
            <a:endParaRPr lang="en-US" dirty="0">
              <a:effectLst/>
            </a:endParaRPr>
          </a:p>
          <a:p>
            <a:pPr marL="1085850" lvl="2" indent="-171450">
              <a:buFont typeface="Arial" panose="020B0604020202020204" pitchFamily="34" charset="0"/>
              <a:buChar char="•"/>
            </a:pPr>
            <a:r>
              <a:rPr lang="en-US" dirty="0">
                <a:effectLst/>
              </a:rPr>
              <a:t>Strong – Linearizability</a:t>
            </a:r>
          </a:p>
          <a:p>
            <a:pPr marL="1085850" lvl="2" indent="-171450">
              <a:buFont typeface="Arial" panose="020B0604020202020204" pitchFamily="34" charset="0"/>
              <a:buChar char="•"/>
            </a:pPr>
            <a:r>
              <a:rPr lang="en-US" dirty="0">
                <a:effectLst/>
              </a:rPr>
              <a:t>Bounded Staleness</a:t>
            </a:r>
            <a:r>
              <a:rPr lang="en-US" baseline="0" dirty="0">
                <a:effectLst/>
              </a:rPr>
              <a:t> - </a:t>
            </a:r>
            <a:r>
              <a:rPr lang="en-US" dirty="0">
                <a:effectLst/>
              </a:rPr>
              <a:t>Reads lag behind writes by k prefixes or t interval</a:t>
            </a:r>
          </a:p>
          <a:p>
            <a:pPr marL="1085850" lvl="2" indent="-171450">
              <a:buFont typeface="Arial" panose="020B0604020202020204" pitchFamily="34" charset="0"/>
              <a:buChar char="•"/>
            </a:pPr>
            <a:r>
              <a:rPr lang="en-US" dirty="0">
                <a:effectLst/>
              </a:rPr>
              <a:t>Session - Monotonic reads, monotonic writes, read-your-writes, write-follows-reads</a:t>
            </a:r>
          </a:p>
          <a:p>
            <a:pPr marL="1085850" lvl="2" indent="-171450">
              <a:buFont typeface="Arial" panose="020B0604020202020204" pitchFamily="34" charset="0"/>
              <a:buChar char="•"/>
            </a:pPr>
            <a:r>
              <a:rPr lang="en-US" dirty="0">
                <a:effectLst/>
              </a:rPr>
              <a:t>Consistent Prefix - Updates returned are some prefix of all the updates, with no gaps</a:t>
            </a:r>
          </a:p>
          <a:p>
            <a:pPr marL="1085850" lvl="2" indent="-171450">
              <a:buFont typeface="Arial" panose="020B0604020202020204" pitchFamily="34" charset="0"/>
              <a:buChar char="•"/>
            </a:pPr>
            <a:r>
              <a:rPr lang="en-US" dirty="0" err="1">
                <a:effectLst/>
              </a:rPr>
              <a:t>EventualOut</a:t>
            </a:r>
            <a:r>
              <a:rPr lang="en-US" dirty="0">
                <a:effectLst/>
              </a:rPr>
              <a:t> of order reads</a:t>
            </a:r>
          </a:p>
          <a:p>
            <a:pPr marL="1085850" lvl="2" indent="-171450">
              <a:buFont typeface="Arial" panose="020B0604020202020204" pitchFamily="34" charset="0"/>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9415" indent="-349415">
              <a:spcAft>
                <a:spcPts val="0"/>
              </a:spcAft>
              <a:buFont typeface="Symbol" panose="05050102010706020507" pitchFamily="18" charset="2"/>
              <a:buChar char=""/>
            </a:pPr>
            <a:endPar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349415" indent="-349415">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57066" lvl="1" indent="-291179">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0339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Only service with financially-backed SLAs for millisecond latency at the 99th percentile, 99.99% HA and guaranteed throughput and consistency</a:t>
            </a:r>
          </a:p>
          <a:p>
            <a:endParaRPr lang="en-US" sz="1200" b="0" kern="1200" dirty="0">
              <a:solidFill>
                <a:schemeClr val="tx1"/>
              </a:solidFill>
              <a:effectLst/>
              <a:latin typeface="+mn-lt"/>
              <a:ea typeface="+mn-ea"/>
              <a:cs typeface="+mn-cs"/>
            </a:endParaRPr>
          </a:p>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endParaRPr lang="en-US" sz="1200" b="0" kern="1200" dirty="0">
              <a:solidFill>
                <a:schemeClr val="tx1"/>
              </a:solidFill>
              <a:effectLst/>
              <a:latin typeface="+mn-lt"/>
              <a:ea typeface="+mn-ea"/>
              <a:cs typeface="+mn-cs"/>
            </a:endParaRPr>
          </a:p>
          <a:p>
            <a:r>
              <a:rPr lang="en-US" sz="1200" b="1" dirty="0">
                <a:solidFill>
                  <a:schemeClr val="accent3"/>
                </a:solidFill>
                <a:latin typeface="Segoe UI Semibold" charset="0"/>
                <a:ea typeface="Segoe UI Semibold" charset="0"/>
                <a:cs typeface="Segoe UI Semibold" charset="0"/>
              </a:rPr>
              <a:t> </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2451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smos DB allows developers to model real world in its true form</a:t>
            </a:r>
            <a:r>
              <a:rPr lang="en-US" dirty="0"/>
              <a:t>: No data is born relational. Cosmos DB allows developers to store and query their data in its original form. It exposes graph, documents, key-values, column-family data models and will enable others. The multi-model and multi-API capabilities remove the friction, allowing you to build with any data model and API.</a:t>
            </a:r>
          </a:p>
          <a:p>
            <a:endParaRPr lang="en-US" dirty="0"/>
          </a:p>
          <a:p>
            <a:r>
              <a:rPr lang="en-US" u="sng" dirty="0"/>
              <a:t>Cosmos DB meets developers where they are</a:t>
            </a:r>
            <a:r>
              <a:rPr lang="en-US" dirty="0"/>
              <a:t>: Cosmos DB offers a multitude of APIs to access and query data including, SQL and various popular OSS APIs.</a:t>
            </a:r>
          </a:p>
          <a:p>
            <a:r>
              <a:rPr lang="en-US" dirty="0"/>
              <a:t>(APIs including </a:t>
            </a:r>
            <a:r>
              <a:rPr lang="en-US" dirty="0">
                <a:hlinkClick r:id="rId3"/>
              </a:rPr>
              <a:t>SQL (Document DB), JavaScript</a:t>
            </a:r>
            <a:r>
              <a:rPr lang="en-US" dirty="0"/>
              <a:t>, </a:t>
            </a:r>
            <a:r>
              <a:rPr lang="en-US" dirty="0">
                <a:hlinkClick r:id="rId4"/>
              </a:rPr>
              <a:t>Gremlin</a:t>
            </a:r>
            <a:r>
              <a:rPr lang="en-US" dirty="0"/>
              <a:t>, </a:t>
            </a:r>
            <a:r>
              <a:rPr lang="en-US" dirty="0">
                <a:hlinkClick r:id="rId5"/>
              </a:rPr>
              <a:t>MongoDB</a:t>
            </a:r>
            <a:r>
              <a:rPr lang="en-US" dirty="0"/>
              <a:t>, and </a:t>
            </a:r>
            <a:r>
              <a:rPr lang="en-US" dirty="0">
                <a:hlinkClick r:id="rId6"/>
              </a:rPr>
              <a:t>Azure Table storage</a:t>
            </a:r>
            <a:r>
              <a:rPr lang="en-US" dirty="0"/>
              <a:t> to query your data.- More to come.)</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257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7347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ith digital transformation in mind, let’s focus on how SQL Database provides the low-cost, low-friction option to migrating your SQL Server data at scale to SQL Database – without having to re-architect your apps.</a:t>
            </a:r>
          </a:p>
          <a:p>
            <a:endParaRPr lang="en-US" b="1" dirty="0"/>
          </a:p>
          <a:p>
            <a:r>
              <a:rPr lang="en-US" b="1" dirty="0"/>
              <a:t>Introducing Azure SQL Database Managed Inst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is an expansion of the existing SQL Database service designed to enable database lift-and-shift to a fully-managed PaaS, without re-designing the application. SQL Database Managed Instance provides high compatibility with the on-premises SQL Server programming model and out-of-box support for the large majority of SQL Server features and accompanying tools and services.</a:t>
            </a:r>
          </a:p>
          <a:p>
            <a:endParaRPr lang="en-US" b="0" dirty="0">
              <a:solidFill>
                <a:srgbClr val="FF0000"/>
              </a:solidFill>
            </a:endParaRPr>
          </a:p>
          <a:p>
            <a:r>
              <a:rPr lang="en-US" b="0" dirty="0">
                <a:solidFill>
                  <a:srgbClr val="FF0000"/>
                </a:solidFill>
              </a:rPr>
              <a:t>It’s important to note that Managed Instance isn’t a new service – it is a third deployment option within Azure SQL Database, sitting alongside single databases and elastic pools. </a:t>
            </a:r>
            <a:r>
              <a:rPr lang="en-US" sz="1200" kern="1200" dirty="0">
                <a:solidFill>
                  <a:schemeClr val="tx1"/>
                </a:solidFill>
                <a:effectLst/>
                <a:latin typeface="+mn-lt"/>
                <a:ea typeface="+mn-ea"/>
                <a:cs typeface="+mn-cs"/>
              </a:rPr>
              <a:t>As part of Azure SQL Database, Microsoft’s fully managed cloud database service, it inherits all its built-in PaaS features. </a:t>
            </a:r>
          </a:p>
          <a:p>
            <a:endParaRPr lang="en-US" b="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262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633F40-32CD-4F84-9443-25A95AEAAEE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33679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74099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6229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362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Question: How many</a:t>
            </a:r>
            <a:r>
              <a:rPr lang="en-US" baseline="0" dirty="0"/>
              <a:t> people know what SSAS cubes ar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89091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D995A-9394-46D5-9C49-13F10C72AD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68965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3077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2724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02124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5998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6641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9530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31408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17421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957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overview shows that Microsoft has been delivering BI capabilities to help customers model, analyze, and deliver business insights, which can be consumed by business users on mobile devices, on the web or embedded in apps.  Most capabilities have been available on-premises with SQL Server Analysis Services and Reporting Services as well as Power BI Desktop and Excel.</a:t>
            </a:r>
          </a:p>
          <a:p>
            <a:r>
              <a:rPr lang="en-US" sz="900" kern="1200" dirty="0">
                <a:solidFill>
                  <a:schemeClr val="tx1"/>
                </a:solidFill>
                <a:effectLst/>
                <a:latin typeface="Segoe UI Light" pitchFamily="34" charset="0"/>
                <a:ea typeface="+mn-ea"/>
                <a:cs typeface="+mn-cs"/>
              </a:rPr>
              <a:t>In the cloud, we were primarily relying on Power BI to deliver business insights – with data connections to many cloud data sources and SaaS apps. In addition to cloud data sources customers can access on-premises data sources such as SQL Server Analysis Services using the on-premises data gateway.  </a:t>
            </a:r>
          </a:p>
          <a:p>
            <a:r>
              <a:rPr lang="en-US" sz="900" kern="1200" dirty="0">
                <a:solidFill>
                  <a:schemeClr val="tx1"/>
                </a:solidFill>
                <a:effectLst/>
                <a:latin typeface="Segoe UI Light" pitchFamily="34" charset="0"/>
                <a:ea typeface="+mn-ea"/>
                <a:cs typeface="+mn-cs"/>
              </a:rPr>
              <a:t>To help customers analyze high volumes of data, which might already be stored in the cloud, for example in an Azure SQL Data Warehouse, we are now enabling BI semantic data modeling capabilities in the clou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zure Analysis Services, is based on the proven analytics engine in SQL Server 2016 Analysis Services. Customers can access data sources across on-premises and the cloud, model that data, and provide business users with a simplified view of their data to enable interactive self-service BI and data discovery using their preferred data visualization tool.</a:t>
            </a:r>
          </a:p>
          <a:p>
            <a:r>
              <a:rPr lang="en-US" sz="900" kern="1200" dirty="0">
                <a:solidFill>
                  <a:schemeClr val="tx1"/>
                </a:solidFill>
                <a:effectLst/>
                <a:latin typeface="Segoe UI Light" pitchFamily="34" charset="0"/>
                <a:ea typeface="+mn-ea"/>
                <a:cs typeface="+mn-cs"/>
              </a:rPr>
              <a:t>Let’s take a look at the benefits of Azure Analysis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32398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914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61CD80A-2C6F-4E39-942E-4436C667F56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6889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236889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F019A4-C508-427F-AE56-D8E43EAC37F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23268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537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06196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70771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7473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2067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01335-BDA8-46EF-A64C-8ACAB223EC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824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kern="1200" dirty="0">
                <a:solidFill>
                  <a:schemeClr val="tx1"/>
                </a:solidFill>
                <a:effectLst/>
                <a:latin typeface="Segoe UI Light" pitchFamily="34" charset="0"/>
                <a:ea typeface="+mn-ea"/>
                <a:cs typeface="+mn-cs"/>
              </a:rPr>
              <a:t>Key points: </a:t>
            </a:r>
            <a:r>
              <a:rPr lang="en-US" sz="900" b="0" kern="1200" dirty="0">
                <a:solidFill>
                  <a:schemeClr val="tx1"/>
                </a:solidFill>
                <a:effectLst/>
                <a:latin typeface="Segoe UI Light" pitchFamily="34" charset="0"/>
                <a:ea typeface="+mn-ea"/>
                <a:cs typeface="+mn-cs"/>
              </a:rPr>
              <a:t>Summarize key benefits for Azure Analysis Services</a:t>
            </a:r>
            <a:endParaRPr lang="en-US" sz="900" b="1"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Azure Analysis Services helps you transform complex data from </a:t>
            </a:r>
            <a:r>
              <a:rPr lang="en-US" sz="900" b="1" kern="1200" baseline="0" dirty="0">
                <a:solidFill>
                  <a:schemeClr val="tx1"/>
                </a:solidFill>
                <a:latin typeface="Segoe UI Light" pitchFamily="34" charset="0"/>
                <a:ea typeface="+mn-ea"/>
                <a:cs typeface="+mn-cs"/>
              </a:rPr>
              <a:t>different data sources into a BI semantic model, so users in your organization can easily gain insights by connecting to the data models using tools like Excel, Power BI, and others to create reports and perform ad hoc data analysis</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1"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Talk Track</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Transform Complex Data into rich BI semantic models:</a:t>
            </a:r>
            <a:r>
              <a:rPr lang="en-US" sz="900" b="0" baseline="0" dirty="0"/>
              <a:t> Azure Analysis Services Analysis Services helps you transform complex data into a single business user friendly data model making it easy for business users to understand and analyze data across different data source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u="sng" baseline="0" dirty="0"/>
              <a:t>Gain instant insights with in-memory cache using your preferred visualization tools :</a:t>
            </a:r>
            <a:r>
              <a:rPr lang="en-US" sz="900" b="0" baseline="0" dirty="0"/>
              <a:t> </a:t>
            </a:r>
            <a:r>
              <a:rPr lang="en-US" sz="900" dirty="0"/>
              <a:t>Not only can business users get</a:t>
            </a:r>
            <a:r>
              <a:rPr lang="en-US" sz="900" baseline="0" dirty="0"/>
              <a:t> insights from data easily </a:t>
            </a:r>
            <a:r>
              <a:rPr lang="en-US" sz="900" b="0" i="0" u="none" strike="noStrike" kern="1200" dirty="0">
                <a:solidFill>
                  <a:schemeClr val="tx1"/>
                </a:solidFill>
                <a:effectLst/>
                <a:latin typeface="Segoe UI Light" pitchFamily="34" charset="0"/>
                <a:ea typeface="+mn-ea"/>
                <a:cs typeface="+mn-cs"/>
              </a:rPr>
              <a:t>using their preferred data visualization tool,</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ether it is Power BI, Excel or other major data visualization tools</a:t>
            </a:r>
            <a:r>
              <a:rPr lang="en-US" sz="900" baseline="0" dirty="0"/>
              <a:t>,</a:t>
            </a:r>
            <a:r>
              <a:rPr lang="en-US" sz="900" dirty="0"/>
              <a:t> but with the in-memory cache capabilities of Azure Analysis Services,</a:t>
            </a:r>
            <a:r>
              <a:rPr lang="en-US" sz="900" baseline="0" dirty="0"/>
              <a:t> users can gain insights </a:t>
            </a:r>
            <a:r>
              <a:rPr lang="en-US" sz="900" b="0" i="0" u="none" strike="noStrike" kern="1200" dirty="0">
                <a:solidFill>
                  <a:schemeClr val="tx1"/>
                </a:solidFill>
                <a:effectLst/>
                <a:latin typeface="Segoe UI Light" pitchFamily="34" charset="0"/>
                <a:ea typeface="+mn-ea"/>
                <a:cs typeface="+mn-cs"/>
              </a:rPr>
              <a:t>over billions of rows of data </a:t>
            </a:r>
            <a:r>
              <a:rPr lang="en-US" sz="900" baseline="0" dirty="0"/>
              <a:t>at the speed of thought</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Proven Technology: </a:t>
            </a:r>
            <a:r>
              <a:rPr lang="en-US" sz="900" b="0" i="0" u="none" strike="noStrike" kern="1200" dirty="0">
                <a:solidFill>
                  <a:schemeClr val="tx1"/>
                </a:solidFill>
                <a:effectLst/>
                <a:latin typeface="Segoe UI Light" pitchFamily="34" charset="0"/>
                <a:ea typeface="+mn-ea"/>
                <a:cs typeface="+mn-cs"/>
              </a:rPr>
              <a:t>Azure Analysis Services is based on the proven analytics engine in SQL Server 2016 Analysis Services, that has helped organizations turn complex data into a trusted, single source of truth for years. This means that BI professionals who are familiar with SQL Server Analysis Services, tabular models can get started quickly and do not need to learn new tools or skills. </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sng" strike="noStrike" kern="1200" dirty="0">
                <a:solidFill>
                  <a:schemeClr val="tx1"/>
                </a:solidFill>
                <a:effectLst/>
                <a:latin typeface="Segoe UI Light" pitchFamily="34" charset="0"/>
                <a:ea typeface="+mn-ea"/>
                <a:cs typeface="+mn-cs"/>
              </a:rPr>
              <a:t>Analytics engine as-a-service (provision</a:t>
            </a:r>
            <a:r>
              <a:rPr lang="en-US" sz="900" b="0" i="0" u="sng" strike="noStrike" kern="1200" baseline="0" dirty="0">
                <a:solidFill>
                  <a:schemeClr val="tx1"/>
                </a:solidFill>
                <a:effectLst/>
                <a:latin typeface="Segoe UI Light" pitchFamily="34" charset="0"/>
                <a:ea typeface="+mn-ea"/>
                <a:cs typeface="+mn-cs"/>
              </a:rPr>
              <a:t> fast, scale faster)</a:t>
            </a:r>
            <a:r>
              <a:rPr lang="en-US" sz="900" b="0" i="0" u="sng" strike="noStrike" kern="1200" dirty="0">
                <a:solidFill>
                  <a:schemeClr val="tx1"/>
                </a:solidFill>
                <a:effectLst/>
                <a:latin typeface="Segoe UI Light" pitchFamily="34" charset="0"/>
                <a:ea typeface="+mn-ea"/>
                <a:cs typeface="+mn-cs"/>
              </a:rPr>
              <a:t>:</a:t>
            </a:r>
            <a:r>
              <a:rPr lang="en-US" sz="900" b="0" i="0" u="none" strike="noStrike" kern="1200" baseline="0" dirty="0">
                <a:solidFill>
                  <a:schemeClr val="tx1"/>
                </a:solidFill>
                <a:effectLst/>
                <a:latin typeface="Segoe UI Light" pitchFamily="34" charset="0"/>
                <a:ea typeface="+mn-ea"/>
                <a:cs typeface="+mn-cs"/>
              </a:rPr>
              <a:t> The same proven enterprise grade BI platform is now available as a fully managed service in Azure. </a:t>
            </a:r>
            <a:r>
              <a:rPr lang="en-US" sz="900" b="0" i="0" u="none" strike="noStrike" kern="1200" dirty="0">
                <a:solidFill>
                  <a:schemeClr val="tx1"/>
                </a:solidFill>
                <a:effectLst/>
                <a:latin typeface="Segoe UI Light" pitchFamily="34" charset="0"/>
                <a:ea typeface="+mn-ea"/>
                <a:cs typeface="+mn-cs"/>
              </a:rPr>
              <a:t>With the power of the</a:t>
            </a:r>
            <a:r>
              <a:rPr lang="en-US" sz="900" b="0" i="0" u="none" strike="noStrike" kern="1200" baseline="0" dirty="0">
                <a:solidFill>
                  <a:schemeClr val="tx1"/>
                </a:solidFill>
                <a:effectLst/>
                <a:latin typeface="Segoe UI Light" pitchFamily="34" charset="0"/>
                <a:ea typeface="+mn-ea"/>
                <a:cs typeface="+mn-cs"/>
              </a:rPr>
              <a:t> trusted Microsoft </a:t>
            </a:r>
            <a:r>
              <a:rPr lang="en-US" sz="900" b="0" i="0" u="none" strike="noStrike" kern="1200" dirty="0">
                <a:solidFill>
                  <a:schemeClr val="tx1"/>
                </a:solidFill>
                <a:effectLst/>
                <a:latin typeface="Segoe UI Light" pitchFamily="34" charset="0"/>
                <a:ea typeface="+mn-ea"/>
                <a:cs typeface="+mn-cs"/>
              </a:rPr>
              <a:t>Cloud, you do not need to manage infrastructure on-premises and c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benefit from the scalability of the cloud. Additionally</a:t>
            </a:r>
            <a:r>
              <a:rPr lang="en-US" sz="900" b="0" i="0" u="none" strike="noStrik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use Azure Resource Manager to create and deploy an Azure Analysis Services instance within seconds, and use backup restore to quickly move your existing models to Azure Analysis Services and take advantage of the scale, flexibility and management benefits of the cloud. Scale up, scale down, or pause the service and pay only for what you use.</a:t>
            </a: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900" b="0" i="0" u="none" strike="noStrike" kern="1200" dirty="0">
              <a:solidFill>
                <a:schemeClr val="tx1"/>
              </a:solidFill>
              <a:effectLst/>
              <a:latin typeface="Segoe UI Light" pitchFamily="34" charset="0"/>
              <a:ea typeface="+mn-ea"/>
              <a:cs typeface="+mn-cs"/>
            </a:endParaRPr>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0" i="0" u="none" strike="noStrike" kern="1200" dirty="0">
                <a:solidFill>
                  <a:schemeClr val="tx1"/>
                </a:solidFill>
                <a:effectLst/>
                <a:latin typeface="Segoe UI Light" pitchFamily="34" charset="0"/>
                <a:ea typeface="+mn-ea"/>
                <a:cs typeface="+mn-cs"/>
              </a:rPr>
              <a:t>Azure Analysis Services is built for Hybrid</a:t>
            </a:r>
            <a:r>
              <a:rPr lang="en-US" sz="900" b="0" i="0" u="none" strike="noStrike" kern="1200" baseline="0" dirty="0">
                <a:solidFill>
                  <a:schemeClr val="tx1"/>
                </a:solidFill>
                <a:effectLst/>
                <a:latin typeface="Segoe UI Light" pitchFamily="34" charset="0"/>
                <a:ea typeface="+mn-ea"/>
                <a:cs typeface="+mn-cs"/>
              </a:rPr>
              <a:t> BI - </a:t>
            </a:r>
            <a:r>
              <a:rPr lang="en-US" sz="900" b="0" i="0" u="none" strike="noStrike" kern="1200" dirty="0">
                <a:solidFill>
                  <a:schemeClr val="tx1"/>
                </a:solidFill>
                <a:effectLst/>
                <a:latin typeface="Segoe UI Light" pitchFamily="34" charset="0"/>
                <a:ea typeface="+mn-ea"/>
                <a:cs typeface="+mn-cs"/>
              </a:rPr>
              <a:t>Organizations store data in the cloud and on-premises. Azure Analysis Services is built for hybrid data. Data can be access in the cloud, on-premises or a combination of both, enabling a hybrid solution. So - you do not have to move on-premises data to the cloud. </a:t>
            </a:r>
            <a:endParaRPr lang="en-US" sz="900" b="0" baseline="0" dirty="0"/>
          </a:p>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br>
              <a:rPr lang="en-US" sz="1200" b="0" i="0" u="none" strike="noStrike" kern="1200" dirty="0">
                <a:solidFill>
                  <a:schemeClr val="tx1"/>
                </a:solidFill>
                <a:effectLst/>
                <a:latin typeface="Segoe UI Light" pitchFamily="34" charset="0"/>
                <a:ea typeface="+mn-ea"/>
                <a:cs typeface="+mn-cs"/>
              </a:rPr>
            </a:br>
            <a:r>
              <a:rPr lang="en-US" sz="1200" b="0" i="0" u="none" strike="noStrike" kern="1200" dirty="0">
                <a:solidFill>
                  <a:schemeClr val="tx1"/>
                </a:solidFill>
                <a:effectLst/>
                <a:latin typeface="Segoe UI Light" pitchFamily="34" charset="0"/>
                <a:ea typeface="+mn-ea"/>
                <a:cs typeface="+mn-cs"/>
              </a:rPr>
              <a:t>To summarize, Azure Analysis Services is simple to use – it is easy to get started, you can use your existing skills to create BI semantic models, and your favorite data visualizations tools to analyze your data.</a:t>
            </a:r>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5092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90078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0A69BD2-67F6-43A1-A2DB-9D24960C083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43103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693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42618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42678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695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baseline="0" dirty="0"/>
              <a:t>Azure Analysis Services Analysis Services helps you transform complex data into a single business friendly data model making it easy for business users to understand and analyze data across different data sources. </a:t>
            </a:r>
          </a:p>
          <a:p>
            <a:endParaRPr lang="en-US" sz="900" b="0" baseline="0" dirty="0"/>
          </a:p>
          <a:p>
            <a:r>
              <a:rPr lang="en-US" dirty="0"/>
              <a:t>The success of any modern data-driven organization requires that information is available at the fingertips of every business user, not just IT professionals and data scientists, to guide their day-to-day decisions. Self-service BI tools have made huge strides in making data accessible to business users. However, most business users don’t have the expertise or desire to do the heavy lifting that is typically required, finding the right sources of data, importing the raw data, transforming it into the right shape, and adding business logic and metrics, before they can explore the data to derive insights. With Azure Analysis Services, a BI professional can create a semantic model over the raw data and share it with business users so that all they need to do is connect to the model from any BI tool and immediately explore the data and gain insigh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1: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1414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Key points: </a:t>
            </a:r>
          </a:p>
          <a:p>
            <a:r>
              <a:rPr lang="en-US" sz="1200" b="0" kern="1200" dirty="0">
                <a:solidFill>
                  <a:schemeClr val="tx1"/>
                </a:solidFill>
                <a:effectLst/>
                <a:latin typeface="+mn-lt"/>
                <a:ea typeface="+mn-ea"/>
                <a:cs typeface="+mn-cs"/>
              </a:rPr>
              <a:t>Easily analyze data with familiar, preferred data visualization tools</a:t>
            </a:r>
            <a:r>
              <a:rPr lang="en-US" sz="1200" b="0" kern="1200" baseline="0" dirty="0">
                <a:solidFill>
                  <a:schemeClr val="tx1"/>
                </a:solidFill>
                <a:effectLst/>
                <a:latin typeface="+mn-lt"/>
                <a:ea typeface="+mn-ea"/>
                <a:cs typeface="+mn-cs"/>
              </a:rPr>
              <a:t> and in-memory cache Azure Analysis Services enables instant delivery of insights</a:t>
            </a: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 Tr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ther business users use Power BI, Excel or othe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tools they don’t have to worry about transforming and cleansing the data, or identifying relationships across disparate data sources. By accessing a pre-built data model, all users can access a consistent view of the data. This means that organizations can easily extend the value of your existing data and access virtually any data wherever it i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800" dirty="0"/>
              <a:t>With the in-memory cache capabilities of Azure Analysis Services,</a:t>
            </a:r>
            <a:r>
              <a:rPr lang="en-US" sz="2800" baseline="0" dirty="0"/>
              <a:t> users can gain insights </a:t>
            </a:r>
            <a:r>
              <a:rPr lang="en-US" sz="2800" b="0" i="0" u="none" strike="noStrike" kern="1200" dirty="0">
                <a:solidFill>
                  <a:schemeClr val="tx1"/>
                </a:solidFill>
                <a:effectLst/>
                <a:latin typeface="Segoe UI Light" pitchFamily="34" charset="0"/>
                <a:ea typeface="+mn-ea"/>
                <a:cs typeface="+mn-cs"/>
              </a:rPr>
              <a:t>over billions of rows of data </a:t>
            </a:r>
            <a:r>
              <a:rPr lang="en-US" sz="2800" baseline="0" dirty="0"/>
              <a:t>at the speed of thought</a:t>
            </a: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77073-5634-4196-A2D2-6DC01565139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407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1" y="1423836"/>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423808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4730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8927" y="286897"/>
            <a:ext cx="11653523" cy="896552"/>
          </a:xfrm>
        </p:spPr>
        <p:txBody>
          <a:bodyPr lIns="146304" tIns="91440" rIns="146304" bIns="91440">
            <a:noAutofit/>
          </a:bodyPr>
          <a:lstStyle>
            <a:lvl1pPr marL="0" indent="0">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US" dirty="0"/>
              <a:t>Click to edit Master title style</a:t>
            </a:r>
          </a:p>
        </p:txBody>
      </p:sp>
    </p:spTree>
    <p:extLst>
      <p:ext uri="{BB962C8B-B14F-4D97-AF65-F5344CB8AC3E}">
        <p14:creationId xmlns:p14="http://schemas.microsoft.com/office/powerpoint/2010/main" val="52498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21D01A88-1428-4DD4-9DF4-7B2CEA405F01}" type="datetimeFigureOut">
              <a:rPr lang="en-US" smtClean="0"/>
              <a:t>1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405210-EB8A-47C8-A22C-0799E2B4004E}" type="slidenum">
              <a:rPr lang="en-US" smtClean="0"/>
              <a:t>‹#›</a:t>
            </a:fld>
            <a:endParaRPr lang="en-US"/>
          </a:p>
        </p:txBody>
      </p:sp>
    </p:spTree>
    <p:extLst>
      <p:ext uri="{BB962C8B-B14F-4D97-AF65-F5344CB8AC3E}">
        <p14:creationId xmlns:p14="http://schemas.microsoft.com/office/powerpoint/2010/main" val="30899773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65758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4290849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915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6220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164493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19172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118848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0"/>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3"/>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chemeClr val="accent5"/>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a:solidFill>
                  <a:schemeClr val="accent4"/>
                </a:solidFill>
              </a:rPr>
              <a:t>Heading One Style </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dirty="0">
              <a:solidFill>
                <a:schemeClr val="tx1">
                  <a:lumMod val="65000"/>
                  <a:lumOff val="35000"/>
                </a:schemeClr>
              </a:solidFill>
            </a:endParaRPr>
          </a:p>
          <a:p>
            <a:pPr marL="393690" lvl="2" indent="-393690">
              <a:buNone/>
            </a:pPr>
            <a:r>
              <a:rPr lang="en-US" sz="2667" dirty="0">
                <a:solidFill>
                  <a:schemeClr val="accent6"/>
                </a:solidFill>
              </a:rPr>
              <a:t>Heading Two Style</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sz="2667" dirty="0">
              <a:solidFill>
                <a:schemeClr val="accent3"/>
              </a:solidFill>
            </a:endParaRPr>
          </a:p>
          <a:p>
            <a:pPr marL="393690" lvl="2" indent="-393690">
              <a:buNone/>
            </a:pPr>
            <a:r>
              <a:rPr lang="en-US" b="1" dirty="0">
                <a:solidFill>
                  <a:schemeClr val="accent1"/>
                </a:solidFill>
              </a:rPr>
              <a:t>HEADING THREE STYLE</a:t>
            </a:r>
          </a:p>
          <a:p>
            <a:pPr marL="393690" lvl="2" indent="-393690">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556961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3031160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643886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86480139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3814626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D7B37-BECB-4FE9-AA46-5D36BACFEE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0EB447-F492-4CC8-8B9F-CB7CF06079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3CBAA8-554E-4CD3-8ADC-70548DDFC3BA}"/>
              </a:ext>
            </a:extLst>
          </p:cNvPr>
          <p:cNvSpPr>
            <a:spLocks noGrp="1"/>
          </p:cNvSpPr>
          <p:nvPr>
            <p:ph type="dt" sz="half" idx="10"/>
          </p:nvPr>
        </p:nvSpPr>
        <p:spPr/>
        <p:txBody>
          <a:bodyPr/>
          <a:lstStyle/>
          <a:p>
            <a:fld id="{F428FC35-BB51-43CE-979D-1372BBC4E717}" type="datetimeFigureOut">
              <a:rPr lang="en-US" smtClean="0"/>
              <a:t>12/7/2017</a:t>
            </a:fld>
            <a:endParaRPr lang="en-US"/>
          </a:p>
        </p:txBody>
      </p:sp>
      <p:sp>
        <p:nvSpPr>
          <p:cNvPr id="5" name="Footer Placeholder 4">
            <a:extLst>
              <a:ext uri="{FF2B5EF4-FFF2-40B4-BE49-F238E27FC236}">
                <a16:creationId xmlns:a16="http://schemas.microsoft.com/office/drawing/2014/main" id="{773F0E8D-0DC5-49A6-8CD8-1F5776B36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86B84-1E8E-4D7F-B05A-9E8BA053001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35412145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2AD5D-B2D4-4263-9E66-8F81565C1A60}"/>
              </a:ext>
            </a:extLst>
          </p:cNvPr>
          <p:cNvSpPr>
            <a:spLocks noGrp="1"/>
          </p:cNvSpPr>
          <p:nvPr>
            <p:ph type="dt" sz="half" idx="10"/>
          </p:nvPr>
        </p:nvSpPr>
        <p:spPr/>
        <p:txBody>
          <a:bodyPr/>
          <a:lstStyle/>
          <a:p>
            <a:fld id="{F428FC35-BB51-43CE-979D-1372BBC4E717}" type="datetimeFigureOut">
              <a:rPr lang="en-US" smtClean="0"/>
              <a:t>12/7/2017</a:t>
            </a:fld>
            <a:endParaRPr lang="en-US"/>
          </a:p>
        </p:txBody>
      </p:sp>
      <p:sp>
        <p:nvSpPr>
          <p:cNvPr id="3" name="Footer Placeholder 2">
            <a:extLst>
              <a:ext uri="{FF2B5EF4-FFF2-40B4-BE49-F238E27FC236}">
                <a16:creationId xmlns:a16="http://schemas.microsoft.com/office/drawing/2014/main" id="{0DFEAB25-C751-4F39-990C-F9CD267CE8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C11B75-6E09-4BB5-B957-BB873FF9C54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529731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39" y="757123"/>
            <a:ext cx="8633819" cy="1325563"/>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8" y="2546045"/>
            <a:ext cx="5129791" cy="2995612"/>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1952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59B4D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3366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3643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4465" y="358849"/>
            <a:ext cx="11384209" cy="867874"/>
          </a:xfrm>
        </p:spPr>
        <p:txBody>
          <a:bodyPr anchor="ctr">
            <a:normAutofit/>
          </a:bodyPr>
          <a:lstStyle>
            <a:lvl1pPr>
              <a:defRPr sz="3600">
                <a:solidFill>
                  <a:schemeClr val="tx2"/>
                </a:solidFill>
              </a:defRPr>
            </a:lvl1pPr>
          </a:lstStyle>
          <a:p>
            <a:r>
              <a:rPr lang="en-US" dirty="0"/>
              <a:t>Click to edit Master title style</a:t>
            </a:r>
          </a:p>
        </p:txBody>
      </p:sp>
      <p:sp>
        <p:nvSpPr>
          <p:cNvPr id="3" name="Rectangle 2"/>
          <p:cNvSpPr/>
          <p:nvPr userDrawn="1"/>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4" name="Text Placeholder 6"/>
          <p:cNvSpPr>
            <a:spLocks noGrp="1"/>
          </p:cNvSpPr>
          <p:nvPr>
            <p:ph type="body" sz="quarter" idx="11"/>
          </p:nvPr>
        </p:nvSpPr>
        <p:spPr>
          <a:xfrm>
            <a:off x="2"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932718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227973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2A2AD-5912-445C-884B-577CBDC46416}"/>
              </a:ext>
            </a:extLst>
          </p:cNvPr>
          <p:cNvSpPr>
            <a:spLocks noGrp="1"/>
          </p:cNvSpPr>
          <p:nvPr>
            <p:ph type="title"/>
          </p:nvPr>
        </p:nvSpPr>
        <p:spPr>
          <a:xfrm>
            <a:off x="609600" y="334969"/>
            <a:ext cx="10972800" cy="81727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50F1F48-1C05-41C6-A9A0-35396C848EC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1DC7E-7C5B-4D7C-9C39-673A712F404F}"/>
              </a:ext>
            </a:extLst>
          </p:cNvPr>
          <p:cNvSpPr>
            <a:spLocks noGrp="1"/>
          </p:cNvSpPr>
          <p:nvPr>
            <p:ph type="dt" sz="half" idx="10"/>
          </p:nvPr>
        </p:nvSpPr>
        <p:spPr/>
        <p:txBody>
          <a:bodyPr/>
          <a:lstStyle/>
          <a:p>
            <a:fld id="{91566D83-5605-4A5C-89C1-21C93773E3B5}" type="datetimeFigureOut">
              <a:rPr lang="en-US" smtClean="0"/>
              <a:t>12/7/2017</a:t>
            </a:fld>
            <a:endParaRPr lang="en-US"/>
          </a:p>
        </p:txBody>
      </p:sp>
      <p:sp>
        <p:nvSpPr>
          <p:cNvPr id="5" name="Footer Placeholder 4">
            <a:extLst>
              <a:ext uri="{FF2B5EF4-FFF2-40B4-BE49-F238E27FC236}">
                <a16:creationId xmlns:a16="http://schemas.microsoft.com/office/drawing/2014/main" id="{C1827698-69AB-4842-8ED5-0129B6FBC1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A45D46-8F60-4025-A825-768B8914EBB5}"/>
              </a:ext>
            </a:extLst>
          </p:cNvPr>
          <p:cNvSpPr>
            <a:spLocks noGrp="1"/>
          </p:cNvSpPr>
          <p:nvPr>
            <p:ph type="sldNum" sz="quarter" idx="12"/>
          </p:nvPr>
        </p:nvSpPr>
        <p:spPr/>
        <p:txBody>
          <a:bodyPr/>
          <a:lstStyle/>
          <a:p>
            <a:fld id="{423F1C03-371D-41FB-926F-F984DBAF822F}" type="slidenum">
              <a:rPr lang="en-US" smtClean="0"/>
              <a:t>‹#›</a:t>
            </a:fld>
            <a:endParaRPr lang="en-US"/>
          </a:p>
        </p:txBody>
      </p:sp>
    </p:spTree>
    <p:extLst>
      <p:ext uri="{BB962C8B-B14F-4D97-AF65-F5344CB8AC3E}">
        <p14:creationId xmlns:p14="http://schemas.microsoft.com/office/powerpoint/2010/main" val="2138361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621188"/>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05250"/>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704238"/>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44105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620058"/>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1"/>
                </a:solidFill>
              </a:defRPr>
            </a:lvl1pPr>
          </a:lstStyle>
          <a:p>
            <a:pPr defTabSz="914225">
              <a:defRPr/>
            </a:pPr>
            <a:fld id="{A34B8C21-472C-43AD-8B9F-5964D09AB204}" type="slidenum">
              <a:rPr lang="en-IN" smtClean="0">
                <a:solidFill>
                  <a:srgbClr val="505050"/>
                </a:solidFill>
                <a:latin typeface="Segoe UI"/>
              </a:rPr>
              <a:pPr defTabSz="914225">
                <a:defRPr/>
              </a:pPr>
              <a:t>‹#›</a:t>
            </a:fld>
            <a:endParaRPr lang="en-IN">
              <a:solidFill>
                <a:srgbClr val="505050"/>
              </a:solidFill>
              <a:latin typeface="Segoe UI"/>
            </a:endParaRPr>
          </a:p>
        </p:txBody>
      </p:sp>
      <p:sp>
        <p:nvSpPr>
          <p:cNvPr id="8" name="Title 7"/>
          <p:cNvSpPr>
            <a:spLocks noGrp="1"/>
          </p:cNvSpPr>
          <p:nvPr>
            <p:ph type="title"/>
          </p:nvPr>
        </p:nvSpPr>
        <p:spPr/>
        <p:txBody>
          <a:bodyPr/>
          <a:lstStyle>
            <a:lvl1pPr>
              <a:defRPr sz="4400">
                <a:solidFill>
                  <a:srgbClr val="00B294"/>
                </a:solidFill>
              </a:defRPr>
            </a:lvl1pPr>
          </a:lstStyle>
          <a:p>
            <a:r>
              <a:rPr lang="en-US"/>
              <a:t>Click to edit Master title style</a:t>
            </a:r>
          </a:p>
        </p:txBody>
      </p:sp>
    </p:spTree>
    <p:extLst>
      <p:ext uri="{BB962C8B-B14F-4D97-AF65-F5344CB8AC3E}">
        <p14:creationId xmlns:p14="http://schemas.microsoft.com/office/powerpoint/2010/main" val="19180151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6276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800" y="470411"/>
            <a:ext cx="1274898" cy="271955"/>
          </a:xfrm>
          <a:prstGeom prst="rect">
            <a:avLst/>
          </a:prstGeom>
        </p:spPr>
      </p:pic>
      <p:sp>
        <p:nvSpPr>
          <p:cNvPr id="11" name="Title 1"/>
          <p:cNvSpPr>
            <a:spLocks noGrp="1"/>
          </p:cNvSpPr>
          <p:nvPr>
            <p:ph type="ctrTitle" hasCustomPrompt="1"/>
          </p:nvPr>
        </p:nvSpPr>
        <p:spPr>
          <a:xfrm>
            <a:off x="269240" y="2100815"/>
            <a:ext cx="7636934" cy="879910"/>
          </a:xfrm>
        </p:spPr>
        <p:txBody>
          <a:bodyPr/>
          <a:lstStyle>
            <a:lvl1pPr>
              <a:defRPr sz="5882" baseline="0">
                <a:solidFill>
                  <a:schemeClr val="tx2"/>
                </a:solidFill>
              </a:defRPr>
            </a:lvl1pPr>
          </a:lstStyle>
          <a:p>
            <a:r>
              <a:rPr lang="en-US"/>
              <a:t>Lorem ipsum dolor</a:t>
            </a:r>
          </a:p>
        </p:txBody>
      </p:sp>
      <p:sp>
        <p:nvSpPr>
          <p:cNvPr id="12" name="Subtitle 2"/>
          <p:cNvSpPr>
            <a:spLocks noGrp="1"/>
          </p:cNvSpPr>
          <p:nvPr>
            <p:ph type="subTitle" idx="1" hasCustomPrompt="1"/>
          </p:nvPr>
        </p:nvSpPr>
        <p:spPr>
          <a:xfrm>
            <a:off x="269301" y="3935863"/>
            <a:ext cx="7680958" cy="607067"/>
          </a:xfrm>
        </p:spPr>
        <p:txBody>
          <a:bodyPr anchor="ctr"/>
          <a:lstStyle>
            <a:lvl1pPr marL="0" indent="0" algn="l">
              <a:lnSpc>
                <a:spcPts val="2549"/>
              </a:lnSpc>
              <a:buNone/>
              <a:defRPr sz="2157">
                <a:solidFill>
                  <a:schemeClr val="tx2"/>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13" name="Text Placeholder 4"/>
          <p:cNvSpPr>
            <a:spLocks noGrp="1"/>
          </p:cNvSpPr>
          <p:nvPr>
            <p:ph type="body" sz="quarter" idx="10"/>
          </p:nvPr>
        </p:nvSpPr>
        <p:spPr>
          <a:xfrm>
            <a:off x="269240" y="3049747"/>
            <a:ext cx="7651629" cy="558508"/>
          </a:xfrm>
        </p:spPr>
        <p:txBody>
          <a:bodyPr anchor="ctr"/>
          <a:lstStyle>
            <a:lvl1pPr marL="0" indent="0">
              <a:lnSpc>
                <a:spcPts val="3431"/>
              </a:lnSpc>
              <a:spcBef>
                <a:spcPts val="0"/>
              </a:spcBef>
              <a:buNone/>
              <a:defRPr sz="2598" b="0">
                <a:solidFill>
                  <a:schemeClr val="tx2"/>
                </a:solidFill>
                <a:latin typeface="+mn-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288995179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6467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359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515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95673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4.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2.xml"/><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5.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11.emf"/><Relationship Id="rId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1.emf"/><Relationship Id="rId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12.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4.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7.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theme" Target="../theme/theme38.xml"/><Relationship Id="rId4" Type="http://schemas.openxmlformats.org/officeDocument/2006/relationships/slideLayout" Target="../slideLayouts/slideLayout21.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40.xml"/><Relationship Id="rId1" Type="http://schemas.openxmlformats.org/officeDocument/2006/relationships/slideLayout" Target="../slideLayouts/slideLayout23.xml"/></Relationships>
</file>

<file path=ppt/slideMasters/_rels/slideMaster41.xml.rels><?xml version="1.0" encoding="UTF-8" standalone="yes"?>
<Relationships xmlns="http://schemas.openxmlformats.org/package/2006/relationships"><Relationship Id="rId3" Type="http://schemas.openxmlformats.org/officeDocument/2006/relationships/theme" Target="../theme/theme41.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2.xml.rels><?xml version="1.0" encoding="UTF-8" standalone="yes"?>
<Relationships xmlns="http://schemas.openxmlformats.org/package/2006/relationships"><Relationship Id="rId3" Type="http://schemas.openxmlformats.org/officeDocument/2006/relationships/theme" Target="../theme/theme42.xml"/><Relationship Id="rId2" Type="http://schemas.openxmlformats.org/officeDocument/2006/relationships/slideLayout" Target="../slideLayouts/slideLayout27.xml"/><Relationship Id="rId1" Type="http://schemas.openxmlformats.org/officeDocument/2006/relationships/slideLayout" Target="../slideLayouts/slideLayout26.xml"/></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3.xml"/><Relationship Id="rId1" Type="http://schemas.openxmlformats.org/officeDocument/2006/relationships/slideLayout" Target="../slideLayouts/slideLayout28.xml"/></Relationships>
</file>

<file path=ppt/slideMasters/_rels/slideMaster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44.xml"/><Relationship Id="rId1" Type="http://schemas.openxmlformats.org/officeDocument/2006/relationships/slideLayout" Target="../slideLayouts/slideLayout29.xml"/><Relationship Id="rId4" Type="http://schemas.openxmlformats.org/officeDocument/2006/relationships/image" Target="../media/image12.png"/></Relationships>
</file>

<file path=ppt/slideMasters/_rels/slideMaster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45.xml"/><Relationship Id="rId1" Type="http://schemas.openxmlformats.org/officeDocument/2006/relationships/slideLayout" Target="../slideLayouts/slideLayout30.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33.xml"/><Relationship Id="rId7" Type="http://schemas.openxmlformats.org/officeDocument/2006/relationships/theme" Target="../theme/theme46.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788310367"/>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9" y="2991035"/>
            <a:ext cx="6858623" cy="876557"/>
          </a:xfrm>
          <a:prstGeom prst="rect">
            <a:avLst/>
          </a:prstGeom>
        </p:spPr>
      </p:pic>
    </p:spTree>
    <p:extLst>
      <p:ext uri="{BB962C8B-B14F-4D97-AF65-F5344CB8AC3E}">
        <p14:creationId xmlns:p14="http://schemas.microsoft.com/office/powerpoint/2010/main" val="2695774493"/>
      </p:ext>
    </p:extLst>
  </p:cSld>
  <p:clrMap bg1="lt1" tx1="dk1" bg2="lt2" tx2="dk2" accent1="accent1" accent2="accent2" accent3="accent3" accent4="accent4" accent5="accent5" accent6="accent6" hlink="hlink" folHlink="folHlink"/>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4253922375"/>
      </p:ext>
    </p:extLst>
  </p:cSld>
  <p:clrMap bg1="lt1" tx1="dk1" bg2="lt2" tx2="dk2" accent1="accent1" accent2="accent2" accent3="accent3" accent4="accent4" accent5="accent5" accent6="accent6" hlink="hlink" folHlink="folHlink"/>
  <p:sldLayoutIdLst>
    <p:sldLayoutId id="214748413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a:off x="11508828" y="6542894"/>
            <a:ext cx="491358" cy="365125"/>
          </a:xfrm>
          <a:prstGeom prst="rect">
            <a:avLst/>
          </a:prstGeom>
        </p:spPr>
        <p:txBody>
          <a:bodyPr vert="horz" lIns="91440" tIns="45720" rIns="91440" bIns="45720" rtlCol="0" anchor="ctr"/>
          <a:lstStyle>
            <a:lvl1pPr algn="r">
              <a:defRPr sz="12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200" b="0" i="0" u="none" strike="noStrike" kern="1200" cap="none" spc="0" normalizeH="0" baseline="0" noProof="0" smtClean="0">
                <a:ln>
                  <a:noFill/>
                </a:ln>
                <a:solidFill>
                  <a:srgbClr val="00188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188F"/>
              </a:solidFill>
              <a:effectLst/>
              <a:uLnTx/>
              <a:uFillTx/>
              <a:latin typeface="Segoe UI"/>
              <a:ea typeface="+mn-ea"/>
              <a:cs typeface="+mn-cs"/>
            </a:endParaRPr>
          </a:p>
        </p:txBody>
      </p:sp>
      <p:sp>
        <p:nvSpPr>
          <p:cNvPr id="6" name="Title Placeholder 5"/>
          <p:cNvSpPr>
            <a:spLocks noGrp="1"/>
          </p:cNvSpPr>
          <p:nvPr>
            <p:ph type="title"/>
          </p:nvPr>
        </p:nvSpPr>
        <p:spPr>
          <a:xfrm>
            <a:off x="261938" y="228600"/>
            <a:ext cx="11334806"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8" name="Text Placeholder 7"/>
          <p:cNvSpPr>
            <a:spLocks noGrp="1"/>
          </p:cNvSpPr>
          <p:nvPr>
            <p:ph type="body" idx="1"/>
          </p:nvPr>
        </p:nvSpPr>
        <p:spPr>
          <a:xfrm>
            <a:off x="261938" y="1181100"/>
            <a:ext cx="11334806" cy="160095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8282771"/>
      </p:ext>
    </p:extLst>
  </p:cSld>
  <p:clrMap bg1="lt1" tx1="dk1" bg2="lt2" tx2="dk2" accent1="accent1" accent2="accent2" accent3="accent3" accent4="accent4" accent5="accent5" accent6="accent6" hlink="hlink" folHlink="folHlink"/>
  <p:transition>
    <p:fade/>
  </p:transition>
  <p:txStyles>
    <p:titleStyle>
      <a:lvl1pPr algn="l" defTabSz="686047" rtl="0" eaLnBrk="1" latinLnBrk="0" hangingPunct="1">
        <a:lnSpc>
          <a:spcPct val="90000"/>
        </a:lnSpc>
        <a:spcBef>
          <a:spcPct val="0"/>
        </a:spcBef>
        <a:buNone/>
        <a:defRPr lang="en-US" sz="4000" b="0" kern="1200" cap="none" spc="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solidFill>
            <a:schemeClr val="accent1"/>
          </a:soli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7515">
          <p15:clr>
            <a:srgbClr val="F26B43"/>
          </p15:clr>
        </p15:guide>
        <p15:guide id="3" orient="horz" pos="744">
          <p15:clr>
            <a:srgbClr val="F26B43"/>
          </p15:clr>
        </p15:guide>
        <p15:guide id="4" pos="165">
          <p15:clr>
            <a:srgbClr val="F26B43"/>
          </p15:clr>
        </p15:guide>
        <p15:guide id="5" orient="horz" pos="742">
          <p15:clr>
            <a:srgbClr val="F26B43"/>
          </p15:clr>
        </p15:guide>
        <p15:guide id="6" orient="horz" pos="1008">
          <p15:clr>
            <a:srgbClr val="F26B43"/>
          </p15:clr>
        </p15:guide>
        <p15:guide id="7" orient="horz" pos="417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506242575"/>
      </p:ext>
    </p:extLst>
  </p:cSld>
  <p:clrMap bg1="lt1" tx1="dk1" bg2="lt2" tx2="dk2" accent1="accent1" accent2="accent2" accent3="accent3" accent4="accent4" accent5="accent5" accent6="accent6" hlink="hlink" folHlink="folHlink"/>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9522186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356616"/>
            <a:ext cx="11151917" cy="553998"/>
          </a:xfrm>
          <a:prstGeom prst="rect">
            <a:avLst/>
          </a:prstGeom>
        </p:spPr>
        <p:txBody>
          <a:bodyPr vert="horz" wrap="square"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868908" y="1673357"/>
            <a:ext cx="11151916"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199248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88"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67"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1pPr>
      <a:lvl2pPr marL="548535" indent="-274267" algn="l" defTabSz="914188" rtl="0" eaLnBrk="1" latinLnBrk="0" hangingPunct="1">
        <a:lnSpc>
          <a:spcPct val="100000"/>
        </a:lnSpc>
        <a:spcBef>
          <a:spcPts val="600"/>
        </a:spcBef>
        <a:buClr>
          <a:schemeClr val="accent1"/>
        </a:buClr>
        <a:buSzPct val="100000"/>
        <a:buFontTx/>
        <a:buBlip>
          <a:blip r:embed="rId2"/>
        </a:buBlip>
        <a:defRPr sz="2000" kern="1200">
          <a:solidFill>
            <a:schemeClr val="tx1"/>
          </a:solidFill>
          <a:latin typeface="Segoe UI" pitchFamily="34" charset="0"/>
          <a:ea typeface="Segoe UI" pitchFamily="34" charset="0"/>
          <a:cs typeface="Segoe UI" pitchFamily="34" charset="0"/>
        </a:defRPr>
      </a:lvl2pPr>
      <a:lvl3pPr marL="822802" indent="-274267" algn="l" defTabSz="914188" rtl="0" eaLnBrk="1" latinLnBrk="0" hangingPunct="1">
        <a:lnSpc>
          <a:spcPct val="100000"/>
        </a:lnSpc>
        <a:spcBef>
          <a:spcPts val="600"/>
        </a:spcBef>
        <a:buClr>
          <a:schemeClr val="accent1"/>
        </a:buClr>
        <a:buSzPct val="100000"/>
        <a:buFontTx/>
        <a:buBlip>
          <a:blip r:embed="rId2"/>
        </a:buBlip>
        <a:defRPr sz="1800" kern="1200">
          <a:solidFill>
            <a:schemeClr val="tx1"/>
          </a:solidFill>
          <a:latin typeface="Segoe UI" pitchFamily="34" charset="0"/>
          <a:ea typeface="Segoe UI" pitchFamily="34" charset="0"/>
          <a:cs typeface="Segoe UI" pitchFamily="34" charset="0"/>
        </a:defRPr>
      </a:lvl3pPr>
      <a:lvl4pPr marL="1097069"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4pPr>
      <a:lvl5pPr marL="1371337" indent="-274267" algn="l" defTabSz="914188" rtl="0" eaLnBrk="1" latinLnBrk="0" hangingPunct="1">
        <a:lnSpc>
          <a:spcPct val="100000"/>
        </a:lnSpc>
        <a:spcBef>
          <a:spcPts val="600"/>
        </a:spcBef>
        <a:buClr>
          <a:schemeClr val="accent1"/>
        </a:buClr>
        <a:buSzPct val="100000"/>
        <a:buFontTx/>
        <a:buBlip>
          <a:blip r:embed="rId2"/>
        </a:buBlip>
        <a:defRPr sz="1600" kern="1200">
          <a:solidFill>
            <a:schemeClr val="tx1"/>
          </a:solidFill>
          <a:latin typeface="Segoe UI" pitchFamily="34" charset="0"/>
          <a:ea typeface="Segoe UI" pitchFamily="34" charset="0"/>
          <a:cs typeface="Segoe UI" pitchFamily="34" charset="0"/>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ECA0C21-8883-4FA0-94AA-352652A18E3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03300865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9808111"/>
      </p:ext>
    </p:extLst>
  </p:cSld>
  <p:clrMap bg1="lt1" tx1="dk1" bg2="lt2" tx2="dk2" accent1="accent1" accent2="accent2" accent3="accent3" accent4="accent4" accent5="accent5" accent6="accent6" hlink="hlink" folHlink="folHlink"/>
  <p:transition>
    <p:fade/>
  </p:transition>
  <p:txStyles>
    <p:title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523">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85559669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50"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4604986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92387122"/>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Tree>
    <p:extLst>
      <p:ext uri="{BB962C8B-B14F-4D97-AF65-F5344CB8AC3E}">
        <p14:creationId xmlns:p14="http://schemas.microsoft.com/office/powerpoint/2010/main" val="58502083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6114406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07886" y="293990"/>
            <a:ext cx="10517414"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230765927"/>
      </p:ext>
    </p:extLst>
  </p:cSld>
  <p:clrMap bg1="lt1" tx1="dk1" bg2="lt2" tx2="dk2" accent1="accent1" accent2="accent2" accent3="accent3" accent4="accent4" accent5="accent5" accent6="accent6" hlink="hlink" folHlink="folHlink"/>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9017" y="1189182"/>
            <a:ext cx="11473969" cy="199771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01462895"/>
      </p:ext>
    </p:extLst>
  </p:cSld>
  <p:clrMap bg1="lt1" tx1="dk1" bg2="lt2" tx2="dk2" accent1="accent1" accent2="accent2" accent3="accent3" accent4="accent4" accent5="accent5" accent6="accent6" hlink="hlink" folHlink="folHlink"/>
  <p:transition>
    <p:fade/>
  </p:transition>
  <p:txStyles>
    <p:titleStyle>
      <a:lvl1pPr algn="l" defTabSz="685691" rtl="0" eaLnBrk="1" latinLnBrk="0" hangingPunct="1">
        <a:lnSpc>
          <a:spcPct val="90000"/>
        </a:lnSpc>
        <a:spcBef>
          <a:spcPct val="0"/>
        </a:spcBef>
        <a:buNone/>
        <a:defRPr lang="en-US" sz="4313"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78" marR="0" indent="-252078" algn="l" defTabSz="685691"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452868" marR="0" indent="-200757" algn="l" defTabSz="6856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17829"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782792"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896397" marR="0" indent="-166519" algn="l" defTabSz="68569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1885652"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500"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1346"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4193" indent="-171423" algn="l" defTabSz="685691"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691" rtl="0" eaLnBrk="1" latinLnBrk="0" hangingPunct="1">
        <a:defRPr sz="1323" kern="1200">
          <a:solidFill>
            <a:schemeClr val="tx1"/>
          </a:solidFill>
          <a:latin typeface="+mn-lt"/>
          <a:ea typeface="+mn-ea"/>
          <a:cs typeface="+mn-cs"/>
        </a:defRPr>
      </a:lvl1pPr>
      <a:lvl2pPr marL="342846" algn="l" defTabSz="685691" rtl="0" eaLnBrk="1" latinLnBrk="0" hangingPunct="1">
        <a:defRPr sz="1323" kern="1200">
          <a:solidFill>
            <a:schemeClr val="tx1"/>
          </a:solidFill>
          <a:latin typeface="+mn-lt"/>
          <a:ea typeface="+mn-ea"/>
          <a:cs typeface="+mn-cs"/>
        </a:defRPr>
      </a:lvl2pPr>
      <a:lvl3pPr marL="685691" algn="l" defTabSz="685691" rtl="0" eaLnBrk="1" latinLnBrk="0" hangingPunct="1">
        <a:defRPr sz="1323" kern="1200">
          <a:solidFill>
            <a:schemeClr val="tx1"/>
          </a:solidFill>
          <a:latin typeface="+mn-lt"/>
          <a:ea typeface="+mn-ea"/>
          <a:cs typeface="+mn-cs"/>
        </a:defRPr>
      </a:lvl3pPr>
      <a:lvl4pPr marL="1028539" algn="l" defTabSz="685691" rtl="0" eaLnBrk="1" latinLnBrk="0" hangingPunct="1">
        <a:defRPr sz="1323" kern="1200">
          <a:solidFill>
            <a:schemeClr val="tx1"/>
          </a:solidFill>
          <a:latin typeface="+mn-lt"/>
          <a:ea typeface="+mn-ea"/>
          <a:cs typeface="+mn-cs"/>
        </a:defRPr>
      </a:lvl4pPr>
      <a:lvl5pPr marL="1371384" algn="l" defTabSz="685691" rtl="0" eaLnBrk="1" latinLnBrk="0" hangingPunct="1">
        <a:defRPr sz="1323" kern="1200">
          <a:solidFill>
            <a:schemeClr val="tx1"/>
          </a:solidFill>
          <a:latin typeface="+mn-lt"/>
          <a:ea typeface="+mn-ea"/>
          <a:cs typeface="+mn-cs"/>
        </a:defRPr>
      </a:lvl5pPr>
      <a:lvl6pPr marL="1714231" algn="l" defTabSz="685691" rtl="0" eaLnBrk="1" latinLnBrk="0" hangingPunct="1">
        <a:defRPr sz="1323" kern="1200">
          <a:solidFill>
            <a:schemeClr val="tx1"/>
          </a:solidFill>
          <a:latin typeface="+mn-lt"/>
          <a:ea typeface="+mn-ea"/>
          <a:cs typeface="+mn-cs"/>
        </a:defRPr>
      </a:lvl6pPr>
      <a:lvl7pPr marL="2057076" algn="l" defTabSz="685691" rtl="0" eaLnBrk="1" latinLnBrk="0" hangingPunct="1">
        <a:defRPr sz="1323" kern="1200">
          <a:solidFill>
            <a:schemeClr val="tx1"/>
          </a:solidFill>
          <a:latin typeface="+mn-lt"/>
          <a:ea typeface="+mn-ea"/>
          <a:cs typeface="+mn-cs"/>
        </a:defRPr>
      </a:lvl7pPr>
      <a:lvl8pPr marL="2399922" algn="l" defTabSz="685691" rtl="0" eaLnBrk="1" latinLnBrk="0" hangingPunct="1">
        <a:defRPr sz="1323" kern="1200">
          <a:solidFill>
            <a:schemeClr val="tx1"/>
          </a:solidFill>
          <a:latin typeface="+mn-lt"/>
          <a:ea typeface="+mn-ea"/>
          <a:cs typeface="+mn-cs"/>
        </a:defRPr>
      </a:lvl8pPr>
      <a:lvl9pPr marL="2742770" algn="l" defTabSz="685691"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8" pos="3053">
          <p15:clr>
            <a:srgbClr val="5ACBF0"/>
          </p15:clr>
        </p15:guide>
        <p15:guide id="9" pos="3629">
          <p15:clr>
            <a:srgbClr val="5ACBF0"/>
          </p15:clr>
        </p15:guide>
        <p15:guide id="11" pos="4205">
          <p15:clr>
            <a:srgbClr val="5ACBF0"/>
          </p15:clr>
        </p15:guide>
        <p15:guide id="12" pos="4781">
          <p15:clr>
            <a:srgbClr val="5ACBF0"/>
          </p15:clr>
        </p15:guide>
        <p15:guide id="14" pos="5357">
          <p15:clr>
            <a:srgbClr val="5ACBF0"/>
          </p15:clr>
        </p15:guide>
        <p15:guide id="15" pos="5702">
          <p15:clr>
            <a:srgbClr val="5ACBF0"/>
          </p15:clr>
        </p15:guide>
        <p15:guide id="16" pos="288">
          <p15:clr>
            <a:srgbClr val="C35EA4"/>
          </p15:clr>
        </p15:guide>
        <p15:guide id="17" pos="558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
        <p:nvSpPr>
          <p:cNvPr id="6" name="Footer Placeholder 9"/>
          <p:cNvSpPr>
            <a:spLocks noGrp="1"/>
          </p:cNvSpPr>
          <p:nvPr>
            <p:ph type="ftr" sz="quarter" idx="3"/>
          </p:nvPr>
        </p:nvSpPr>
        <p:spPr>
          <a:xfrm>
            <a:off x="4256945" y="6602780"/>
            <a:ext cx="6611133" cy="365125"/>
          </a:xfrm>
        </p:spPr>
        <p:txBody>
          <a:bodyPr/>
          <a:lstStyle/>
          <a:p>
            <a:pPr>
              <a:defRPr/>
            </a:pPr>
            <a:r>
              <a:rPr lang="en-GB" sz="980" dirty="0">
                <a:solidFill>
                  <a:srgbClr val="515254"/>
                </a:solidFill>
              </a:rPr>
              <a:t>Copyright Microsoft Corporation.  All rights reserved.  </a:t>
            </a:r>
            <a:endParaRPr lang="en-US" sz="980" dirty="0">
              <a:solidFill>
                <a:srgbClr val="515254"/>
              </a:solidFill>
            </a:endParaRPr>
          </a:p>
        </p:txBody>
      </p:sp>
    </p:spTree>
    <p:extLst>
      <p:ext uri="{BB962C8B-B14F-4D97-AF65-F5344CB8AC3E}">
        <p14:creationId xmlns:p14="http://schemas.microsoft.com/office/powerpoint/2010/main" val="3124199104"/>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073" y="6223820"/>
            <a:ext cx="1562691" cy="574826"/>
          </a:xfrm>
          <a:prstGeom prst="rect">
            <a:avLst/>
          </a:prstGeom>
        </p:spPr>
      </p:pic>
    </p:spTree>
    <p:extLst>
      <p:ext uri="{BB962C8B-B14F-4D97-AF65-F5344CB8AC3E}">
        <p14:creationId xmlns:p14="http://schemas.microsoft.com/office/powerpoint/2010/main" val="1018518939"/>
      </p:ext>
    </p:extLst>
  </p:cSld>
  <p:clrMap bg1="lt1" tx1="dk1" bg2="lt2" tx2="dk2" accent1="accent1" accent2="accent2" accent3="accent3" accent4="accent4" accent5="accent5" accent6="accent6" hlink="hlink" folHlink="folHlink"/>
  <p:transition>
    <p:fade/>
  </p:transition>
  <p:hf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3226983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1782097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5710387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573621"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573621"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stretch>
            <a:fillRect/>
          </a:stretch>
        </p:blipFill>
        <p:spPr>
          <a:xfrm rot="5400000">
            <a:off x="9259288" y="2932713"/>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223400800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7673929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0502691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2317751498"/>
      </p:ext>
    </p:extLst>
  </p:cSld>
  <p:clrMap bg1="lt1" tx1="dk1" bg2="lt2" tx2="dk2" accent1="accent1" accent2="accent2" accent3="accent3" accent4="accent4" accent5="accent5" accent6="accent6" hlink="hlink" folHlink="folHlink"/>
  <p:sldLayoutIdLst>
    <p:sldLayoutId id="2147484734" r:id="rId1"/>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206422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78659372"/>
      </p:ext>
    </p:extLst>
  </p:cSld>
  <p:clrMap bg1="lt1" tx1="dk1" bg2="lt2" tx2="dk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27260108"/>
      </p:ext>
    </p:extLst>
  </p:cSld>
  <p:clrMap bg1="lt1" tx1="dk1" bg2="lt2" tx2="dk2" accent1="accent1" accent2="accent2" accent3="accent3" accent4="accent4" accent5="accent5" accent6="accent6" hlink="hlink" folHlink="folHlink"/>
  <p:sldLayoutIdLst>
    <p:sldLayoutId id="2147484789" r:id="rId1"/>
    <p:sldLayoutId id="2147484960" r:id="rId2"/>
    <p:sldLayoutId id="2147484980"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0795779"/>
      </p:ext>
    </p:extLst>
  </p:cSld>
  <p:clrMap bg1="lt1" tx1="dk1" bg2="lt2" tx2="dk2" accent1="accent1" accent2="accent2" accent3="accent3" accent4="accent4" accent5="accent5" accent6="accent6" hlink="hlink" folHlink="folHlink"/>
  <p:sldLayoutIdLst>
    <p:sldLayoutId id="2147484799" r:id="rId1"/>
    <p:sldLayoutId id="2147484815" r:id="rId2"/>
    <p:sldLayoutId id="214748481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028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9240" y="1189177"/>
            <a:ext cx="11655840" cy="498778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D01A88-1428-4DD4-9DF4-7B2CEA405F01}" type="datetimeFigureOut">
              <a:rPr lang="en-US" smtClean="0"/>
              <a:t>12/7/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405210-EB8A-47C8-A22C-0799E2B4004E}" type="slidenum">
              <a:rPr lang="en-US" smtClean="0"/>
              <a:t>‹#›</a:t>
            </a:fld>
            <a:endParaRPr lang="en-US"/>
          </a:p>
        </p:txBody>
      </p:sp>
    </p:spTree>
    <p:extLst>
      <p:ext uri="{BB962C8B-B14F-4D97-AF65-F5344CB8AC3E}">
        <p14:creationId xmlns:p14="http://schemas.microsoft.com/office/powerpoint/2010/main" val="3843691583"/>
      </p:ext>
    </p:extLst>
  </p:cSld>
  <p:clrMap bg1="lt1" tx1="dk1" bg2="lt2" tx2="dk2" accent1="accent1" accent2="accent2" accent3="accent3" accent4="accent4" accent5="accent5" accent6="accent6" hlink="hlink" folHlink="folHlink"/>
  <p:sldLayoutIdLst>
    <p:sldLayoutId id="2147484818"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47930912"/>
      </p:ext>
    </p:extLst>
  </p:cSld>
  <p:clrMap bg1="lt1" tx1="dk1" bg2="lt2" tx2="dk2" accent1="accent1" accent2="accent2" accent3="accent3" accent4="accent4" accent5="accent5" accent6="accent6" hlink="hlink" folHlink="folHlink"/>
  <p:sldLayoutIdLst>
    <p:sldLayoutId id="2147484823" r:id="rId1"/>
    <p:sldLayoutId id="2147484824" r:id="rId2"/>
    <p:sldLayoutId id="2147484825" r:id="rId3"/>
    <p:sldLayoutId id="2147484826" r:id="rId4"/>
    <p:sldLayoutId id="2147484828" r:id="rId5"/>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415721653"/>
      </p:ext>
    </p:extLst>
  </p:cSld>
  <p:clrMap bg1="lt1" tx1="dk1" bg2="lt2" tx2="dk2" accent1="accent1" accent2="accent2" accent3="accent3" accent4="accent4" accent5="accent5" accent6="accent6" hlink="hlink" folHlink="folHlink"/>
  <p:sldLayoutIdLst>
    <p:sldLayoutId id="2147484834" r:id="rId1"/>
    <p:sldLayoutId id="2147484839" r:id="rId2"/>
    <p:sldLayoutId id="2147484844" r:id="rId3"/>
    <p:sldLayoutId id="2147484845" r:id="rId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415088"/>
      </p:ext>
    </p:extLst>
  </p:cSld>
  <p:clrMap bg1="lt1" tx1="dk1" bg2="lt2" tx2="dk2" accent1="accent1" accent2="accent2" accent3="accent3" accent4="accent4" accent5="accent5" accent6="accent6" hlink="hlink" folHlink="folHlink"/>
  <p:sldLayoutIdLst>
    <p:sldLayoutId id="2147484863"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325563"/>
          </a:xfrm>
          <a:prstGeom prst="rect">
            <a:avLst/>
          </a:prstGeom>
        </p:spPr>
        <p:txBody>
          <a:bodyPr vert="horz" lIns="274320" tIns="22860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0" y="1352289"/>
            <a:ext cx="10515600" cy="4351338"/>
          </a:xfrm>
          <a:prstGeom prst="rect">
            <a:avLst/>
          </a:prstGeom>
        </p:spPr>
        <p:txBody>
          <a:bodyPr vert="horz" lIns="27432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5241849"/>
      </p:ext>
    </p:extLst>
  </p:cSld>
  <p:clrMap bg1="lt1" tx1="dk1" bg2="lt2" tx2="dk2" accent1="accent1" accent2="accent2" accent3="accent3" accent4="accent4" accent5="accent5" accent6="accent6" hlink="hlink" folHlink="folHlink"/>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225" rtl="0" eaLnBrk="1" latinLnBrk="0" hangingPunct="1">
        <a:lnSpc>
          <a:spcPct val="90000"/>
        </a:lnSpc>
        <a:spcBef>
          <a:spcPts val="1000"/>
        </a:spcBef>
        <a:buFont typeface="Arial" panose="020B0604020202020204" pitchFamily="34" charset="0"/>
        <a:buNone/>
        <a:defRPr sz="2800" kern="1200">
          <a:solidFill>
            <a:schemeClr val="tx1"/>
          </a:solidFill>
          <a:latin typeface="+mj-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868845499"/>
      </p:ext>
    </p:extLst>
  </p:cSld>
  <p:clrMap bg1="lt1" tx1="dk1" bg2="lt2" tx2="dk2" accent1="accent1" accent2="accent2" accent3="accent3" accent4="accent4" accent5="accent5" accent6="accent6" hlink="hlink" folHlink="folHlink"/>
  <p:sldLayoutIdLst>
    <p:sldLayoutId id="2147484868"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74B2F0-884F-4988-BC4F-133AE617D3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D4A5D4-8627-4A31-9C35-1ECE1894A8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18854B-585A-40E9-B821-F63C422E63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28FC35-BB51-43CE-979D-1372BBC4E717}" type="datetimeFigureOut">
              <a:rPr lang="en-US" smtClean="0"/>
              <a:t>12/7/2017</a:t>
            </a:fld>
            <a:endParaRPr lang="en-US"/>
          </a:p>
        </p:txBody>
      </p:sp>
      <p:sp>
        <p:nvSpPr>
          <p:cNvPr id="5" name="Footer Placeholder 4">
            <a:extLst>
              <a:ext uri="{FF2B5EF4-FFF2-40B4-BE49-F238E27FC236}">
                <a16:creationId xmlns:a16="http://schemas.microsoft.com/office/drawing/2014/main" id="{D13ACA8F-75FA-4734-A5F5-A3B2FA6C92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F7A2F04-0CFF-49BA-BCAF-5114E5D0CD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C838D7-4801-4718-9B61-F442E6004B64}" type="slidenum">
              <a:rPr lang="en-US" smtClean="0"/>
              <a:t>‹#›</a:t>
            </a:fld>
            <a:endParaRPr lang="en-US"/>
          </a:p>
        </p:txBody>
      </p:sp>
    </p:spTree>
    <p:extLst>
      <p:ext uri="{BB962C8B-B14F-4D97-AF65-F5344CB8AC3E}">
        <p14:creationId xmlns:p14="http://schemas.microsoft.com/office/powerpoint/2010/main" val="4150142022"/>
      </p:ext>
    </p:extLst>
  </p:cSld>
  <p:clrMap bg1="lt1" tx1="dk1" bg2="lt2" tx2="dk2" accent1="accent1" accent2="accent2" accent3="accent3" accent4="accent4" accent5="accent5" accent6="accent6" hlink="hlink" folHlink="folHlink"/>
  <p:sldLayoutIdLst>
    <p:sldLayoutId id="2147484909" r:id="rId1"/>
    <p:sldLayoutId id="214748491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55826"/>
            <a:ext cx="11642721" cy="9175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452788"/>
            <a:ext cx="11642722" cy="47241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2/7/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907015328"/>
      </p:ext>
    </p:extLst>
  </p:cSld>
  <p:clrMap bg1="lt1" tx1="dk1" bg2="lt2" tx2="dk2" accent1="accent1" accent2="accent2" accent3="accent3" accent4="accent4" accent5="accent5" accent6="accent6" hlink="hlink" folHlink="folHlink"/>
  <p:sldLayoutIdLst>
    <p:sldLayoutId id="2147484924" r:id="rId1"/>
    <p:sldLayoutId id="2147484928" r:id="rId2"/>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4515223"/>
      </p:ext>
    </p:extLst>
  </p:cSld>
  <p:clrMap bg1="lt1" tx1="dk1" bg2="lt2" tx2="dk2" accent1="accent1" accent2="accent2" accent3="accent3" accent4="accent4" accent5="accent5" accent6="accent6" hlink="hlink" folHlink="folHlink"/>
  <p:sldLayoutIdLst>
    <p:sldLayoutId id="2147484942" r:id="rId1"/>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384209"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384209"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259289" y="2932714"/>
            <a:ext cx="6724751" cy="859326"/>
          </a:xfrm>
          <a:prstGeom prst="rect">
            <a:avLst/>
          </a:prstGeom>
        </p:spPr>
      </p:pic>
      <p:pic>
        <p:nvPicPr>
          <p:cNvPr id="8" name="Picture 7" descr="https://upload.wikimedia.org/wikipedia/commons/thumb/9/96/Microsoft_logo_(2012).svg/2000px-Microsoft_logo_(2012).svg.png"/>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954982" y="-401215"/>
            <a:ext cx="1143000" cy="246380"/>
          </a:xfrm>
          <a:prstGeom prst="rect">
            <a:avLst/>
          </a:prstGeom>
          <a:noFill/>
          <a:extLst/>
        </p:spPr>
      </p:pic>
    </p:spTree>
    <p:extLst>
      <p:ext uri="{BB962C8B-B14F-4D97-AF65-F5344CB8AC3E}">
        <p14:creationId xmlns:p14="http://schemas.microsoft.com/office/powerpoint/2010/main" val="2787446597"/>
      </p:ext>
    </p:extLst>
  </p:cSld>
  <p:clrMap bg1="lt1" tx1="dk1" bg2="lt2" tx2="dk2" accent1="accent1" accent2="accent2" accent3="accent3" accent4="accent4" accent5="accent5" accent6="accent6" hlink="hlink" folHlink="folHlink"/>
  <p:sldLayoutIdLst>
    <p:sldLayoutId id="2147484968" r:id="rId1"/>
  </p:sldLayoutIdLst>
  <p:txStyles>
    <p:titleStyle>
      <a:lvl1pPr algn="l" defTabSz="914411"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3" indent="-228603" algn="l" defTabSz="914411"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8" indent="-228603" algn="l" defTabSz="914411"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14" indent="-228603" algn="l" defTabSz="914411"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19"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24" indent="-228603" algn="l" defTabSz="914411"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 name="Text Placeholder 9"/>
          <p:cNvSpPr>
            <a:spLocks noGrp="1"/>
          </p:cNvSpPr>
          <p:nvPr>
            <p:ph type="body" idx="1"/>
          </p:nvPr>
        </p:nvSpPr>
        <p:spPr>
          <a:xfrm>
            <a:off x="267682" y="1648150"/>
            <a:ext cx="11655079" cy="520984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4"/>
            <a:r>
              <a:rPr lang="en-US" dirty="0"/>
              <a:t>Fourth level</a:t>
            </a:r>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0590" t="33970" r="10590" b="33970"/>
          <a:stretch/>
        </p:blipFill>
        <p:spPr>
          <a:xfrm>
            <a:off x="11150207" y="6386624"/>
            <a:ext cx="864387" cy="351584"/>
          </a:xfrm>
          <a:prstGeom prst="rect">
            <a:avLst/>
          </a:prstGeom>
        </p:spPr>
      </p:pic>
      <p:sp>
        <p:nvSpPr>
          <p:cNvPr id="6" name="Title 1">
            <a:extLst>
              <a:ext uri="{FF2B5EF4-FFF2-40B4-BE49-F238E27FC236}">
                <a16:creationId xmlns:a16="http://schemas.microsoft.com/office/drawing/2014/main" id="{AABFAFE9-9A3A-42CB-9F9A-BC7038257449}"/>
              </a:ext>
            </a:extLst>
          </p:cNvPr>
          <p:cNvSpPr txBox="1">
            <a:spLocks/>
          </p:cNvSpPr>
          <p:nvPr userDrawn="1"/>
        </p:nvSpPr>
        <p:spPr>
          <a:xfrm>
            <a:off x="609600" y="334969"/>
            <a:ext cx="10972800" cy="817275"/>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endParaRPr lang="en-US" sz="4800" dirty="0"/>
          </a:p>
        </p:txBody>
      </p:sp>
    </p:spTree>
    <p:extLst>
      <p:ext uri="{BB962C8B-B14F-4D97-AF65-F5344CB8AC3E}">
        <p14:creationId xmlns:p14="http://schemas.microsoft.com/office/powerpoint/2010/main" val="4095171701"/>
      </p:ext>
    </p:extLst>
  </p:cSld>
  <p:clrMap bg1="lt1" tx1="dk1" bg2="lt2" tx2="dk2" accent1="accent1" accent2="accent2" accent3="accent3" accent4="accent4" accent5="accent5" accent6="accent6" hlink="hlink" folHlink="folHlink"/>
  <p:sldLayoutIdLst>
    <p:sldLayoutId id="2147484997" r:id="rId1"/>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p:titleStyle>
    <p:bodyStyle>
      <a:lvl1pPr marL="0" indent="-691183" algn="l" defTabSz="1219170" rtl="0" eaLnBrk="1" latinLnBrk="0" hangingPunct="1">
        <a:lnSpc>
          <a:spcPct val="150000"/>
        </a:lnSpc>
        <a:spcBef>
          <a:spcPct val="20000"/>
        </a:spcBef>
        <a:buClr>
          <a:schemeClr val="accent3"/>
        </a:buClr>
        <a:buFont typeface="Arial"/>
        <a:buNone/>
        <a:defRPr sz="2667" kern="1200">
          <a:solidFill>
            <a:srgbClr val="7F7F7F"/>
          </a:solidFill>
          <a:latin typeface="+mn-lt"/>
          <a:ea typeface="+mn-ea"/>
          <a:cs typeface="Segoe UI"/>
        </a:defRPr>
      </a:lvl1pPr>
      <a:lvl2pPr marL="225594" indent="-457189" algn="l" defTabSz="1219170" rtl="0" eaLnBrk="1" latinLnBrk="0" hangingPunct="1">
        <a:lnSpc>
          <a:spcPct val="150000"/>
        </a:lnSpc>
        <a:spcBef>
          <a:spcPct val="20000"/>
        </a:spcBef>
        <a:buClr>
          <a:schemeClr val="accent3"/>
        </a:buClr>
        <a:buFont typeface="Arial"/>
        <a:buChar char="•"/>
        <a:defRPr lang="en-US" sz="2667" kern="1200" dirty="0" smtClean="0">
          <a:solidFill>
            <a:srgbClr val="7F7F7F"/>
          </a:solidFill>
          <a:latin typeface="+mn-lt"/>
          <a:ea typeface="+mn-ea"/>
          <a:cs typeface="Segoe UI"/>
        </a:defRPr>
      </a:lvl2pPr>
      <a:lvl3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rgbClr val="7F7F7F"/>
          </a:solidFill>
          <a:latin typeface="Segoe UI Light" panose="020B0502040204020203" pitchFamily="34" charset="0"/>
          <a:ea typeface="+mn-ea"/>
          <a:cs typeface="Segoe UI Light" panose="020B0502040204020203" pitchFamily="34" charset="0"/>
        </a:defRPr>
      </a:lvl3pPr>
      <a:lvl4pPr marL="604785" indent="-379191" algn="l" defTabSz="1219170" rtl="0" eaLnBrk="1" latinLnBrk="0" hangingPunct="1">
        <a:lnSpc>
          <a:spcPct val="150000"/>
        </a:lnSpc>
        <a:spcBef>
          <a:spcPts val="320"/>
        </a:spcBef>
        <a:buClr>
          <a:schemeClr val="accent3"/>
        </a:buClr>
        <a:buFont typeface="Arial"/>
        <a:buChar char="•"/>
        <a:defRPr lang="en-US" sz="2400" kern="1200" dirty="0" smtClean="0">
          <a:solidFill>
            <a:schemeClr val="tx2"/>
          </a:solidFill>
          <a:latin typeface="Segoe UI Light" panose="020B0502040204020203" pitchFamily="34" charset="0"/>
          <a:ea typeface="+mn-ea"/>
          <a:cs typeface="Segoe UI Light" panose="020B0502040204020203" pitchFamily="34" charset="0"/>
        </a:defRPr>
      </a:lvl4pPr>
      <a:lvl5pPr marL="839979" indent="-379191" algn="l" defTabSz="1219170" rtl="0" eaLnBrk="1" latinLnBrk="0" hangingPunct="1">
        <a:lnSpc>
          <a:spcPct val="150000"/>
        </a:lnSpc>
        <a:spcBef>
          <a:spcPts val="320"/>
        </a:spcBef>
        <a:buClr>
          <a:schemeClr val="accent3"/>
        </a:buClr>
        <a:buFont typeface="Arial"/>
        <a:buChar char="•"/>
        <a:defRPr lang="en-US" sz="2400" kern="1200" dirty="0">
          <a:solidFill>
            <a:srgbClr val="7F7F7F"/>
          </a:solidFill>
          <a:latin typeface="Segoe UI Light" panose="020B0502040204020203" pitchFamily="34" charset="0"/>
          <a:ea typeface="+mn-ea"/>
          <a:cs typeface="Segoe UI Light" panose="020B05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60891016"/>
      </p:ext>
    </p:extLst>
  </p:cSld>
  <p:clrMap bg1="lt1" tx1="dk1" bg2="lt2" tx2="dk2" accent1="accent1" accent2="accent2" accent3="accent3" accent4="accent4" accent5="accent5" accent6="accent6" hlink="hlink" folHlink="folHlink"/>
  <p:sldLayoutIdLst>
    <p:sldLayoutId id="2147485003" r:id="rId1"/>
    <p:sldLayoutId id="2147485004" r:id="rId2"/>
    <p:sldLayoutId id="2147485007" r:id="rId3"/>
    <p:sldLayoutId id="2147485011" r:id="rId4"/>
    <p:sldLayoutId id="2147485012" r:id="rId5"/>
    <p:sldLayoutId id="2147485016" r:id="rId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0844603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70774194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89511"/>
            <a:ext cx="11295758"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457200" y="1189178"/>
            <a:ext cx="11293475" cy="1868204"/>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0086510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accent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40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98289" y="6392059"/>
            <a:ext cx="371032" cy="296879"/>
          </a:xfrm>
          <a:prstGeom prst="rect">
            <a:avLst/>
          </a:prstGeom>
        </p:spPr>
      </p:pic>
    </p:spTree>
    <p:extLst>
      <p:ext uri="{BB962C8B-B14F-4D97-AF65-F5344CB8AC3E}">
        <p14:creationId xmlns:p14="http://schemas.microsoft.com/office/powerpoint/2010/main" val="2407364089"/>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6" r:id="rId3"/>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1306354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20.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hyperlink" Target="https://azure.microsoft.com/en-us/pricing/details/analysis-services/" TargetMode="External"/><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43.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hyperlink" Target="https://databricks.com/blog/2017/07/12/benchmarking-big-data-sql-platforms-in-the-cloud.html"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36.xml"/><Relationship Id="rId1" Type="http://schemas.openxmlformats.org/officeDocument/2006/relationships/slideLayout" Target="../slideLayouts/slideLayout26.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25.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 Id="rId9"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27.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46.xml"/><Relationship Id="rId7" Type="http://schemas.openxmlformats.org/officeDocument/2006/relationships/image" Target="../media/image69.emf"/><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oleObject" Target="../embeddings/oleObject5.bin"/><Relationship Id="rId11" Type="http://schemas.openxmlformats.org/officeDocument/2006/relationships/image" Target="../media/image71.emf"/><Relationship Id="rId5" Type="http://schemas.openxmlformats.org/officeDocument/2006/relationships/image" Target="../media/image68.emf"/><Relationship Id="rId10" Type="http://schemas.openxmlformats.org/officeDocument/2006/relationships/oleObject" Target="../embeddings/oleObject7.bin"/><Relationship Id="rId4" Type="http://schemas.openxmlformats.org/officeDocument/2006/relationships/oleObject" Target="../embeddings/oleObject4.bin"/><Relationship Id="rId9" Type="http://schemas.openxmlformats.org/officeDocument/2006/relationships/image" Target="../media/image70.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50.xml"/><Relationship Id="rId7" Type="http://schemas.openxmlformats.org/officeDocument/2006/relationships/image" Target="../media/image73.emf"/><Relationship Id="rId2" Type="http://schemas.openxmlformats.org/officeDocument/2006/relationships/slideLayout" Target="../slideLayouts/slideLayout30.xml"/><Relationship Id="rId1" Type="http://schemas.openxmlformats.org/officeDocument/2006/relationships/vmlDrawing" Target="../drawings/vmlDrawing5.vml"/><Relationship Id="rId6" Type="http://schemas.openxmlformats.org/officeDocument/2006/relationships/oleObject" Target="../embeddings/oleObject9.bin"/><Relationship Id="rId11" Type="http://schemas.openxmlformats.org/officeDocument/2006/relationships/image" Target="../media/image74.emf"/><Relationship Id="rId5" Type="http://schemas.openxmlformats.org/officeDocument/2006/relationships/image" Target="../media/image72.emf"/><Relationship Id="rId10" Type="http://schemas.openxmlformats.org/officeDocument/2006/relationships/oleObject" Target="../embeddings/oleObject10.bin"/><Relationship Id="rId4" Type="http://schemas.openxmlformats.org/officeDocument/2006/relationships/oleObject" Target="../embeddings/oleObject8.bin"/><Relationship Id="rId9"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hyperlink" Target="mailto:datamigrationteam@microsoft.com" TargetMode="External"/><Relationship Id="rId2" Type="http://schemas.openxmlformats.org/officeDocument/2006/relationships/notesSlide" Target="../notesSlides/notesSlide51.xml"/><Relationship Id="rId1" Type="http://schemas.openxmlformats.org/officeDocument/2006/relationships/slideLayout" Target="../slideLayouts/slideLayout6.xml"/><Relationship Id="rId5" Type="http://schemas.openxmlformats.org/officeDocument/2006/relationships/image" Target="../media/image78.emf"/><Relationship Id="rId4" Type="http://schemas.openxmlformats.org/officeDocument/2006/relationships/image" Target="../media/image77.emf"/></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3" Type="http://schemas.openxmlformats.org/officeDocument/2006/relationships/hyperlink" Target="https://management.azure.com/subscriptions/%3csubId%3e/resourceGroups/%3cresourceGroupName%3e/providers/Microsoft.DataFactory/factories/%3cdataFactoryName%3e/pipelines/%3cpipelineName%3e/createRun?api-version=2017-03-01-preview" TargetMode="External"/><Relationship Id="rId2" Type="http://schemas.openxmlformats.org/officeDocument/2006/relationships/notesSlide" Target="../notesSlides/notesSlide55.xml"/><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image" Target="../media/image79.emf"/><Relationship Id="rId7" Type="http://schemas.openxmlformats.org/officeDocument/2006/relationships/image" Target="../media/image83.png"/><Relationship Id="rId2" Type="http://schemas.openxmlformats.org/officeDocument/2006/relationships/notesSlide" Target="../notesSlides/notesSlide58.xml"/><Relationship Id="rId1" Type="http://schemas.openxmlformats.org/officeDocument/2006/relationships/slideLayout" Target="../slideLayouts/slideLayout32.xml"/><Relationship Id="rId6" Type="http://schemas.openxmlformats.org/officeDocument/2006/relationships/image" Target="../media/image82.emf"/><Relationship Id="rId5" Type="http://schemas.openxmlformats.org/officeDocument/2006/relationships/image" Target="../media/image81.emf"/><Relationship Id="rId10" Type="http://schemas.openxmlformats.org/officeDocument/2006/relationships/image" Target="../media/image86.png"/><Relationship Id="rId4" Type="http://schemas.openxmlformats.org/officeDocument/2006/relationships/image" Target="../media/image80.emf"/><Relationship Id="rId9" Type="http://schemas.openxmlformats.org/officeDocument/2006/relationships/image" Target="../media/image85.png"/></Relationships>
</file>

<file path=ppt/slides/_rels/slide5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7.png"/><Relationship Id="rId7" Type="http://schemas.openxmlformats.org/officeDocument/2006/relationships/image" Target="../media/image89.png"/><Relationship Id="rId2" Type="http://schemas.openxmlformats.org/officeDocument/2006/relationships/notesSlide" Target="../notesSlides/notesSlide59.xml"/><Relationship Id="rId1" Type="http://schemas.openxmlformats.org/officeDocument/2006/relationships/slideLayout" Target="../slideLayouts/slideLayout32.xml"/><Relationship Id="rId6" Type="http://schemas.openxmlformats.org/officeDocument/2006/relationships/image" Target="../media/image80.emf"/><Relationship Id="rId5" Type="http://schemas.openxmlformats.org/officeDocument/2006/relationships/image" Target="../media/image83.png"/><Relationship Id="rId4" Type="http://schemas.openxmlformats.org/officeDocument/2006/relationships/image" Target="../media/image88.png"/><Relationship Id="rId9" Type="http://schemas.openxmlformats.org/officeDocument/2006/relationships/image" Target="../media/image85.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9.png"/><Relationship Id="rId2" Type="http://schemas.openxmlformats.org/officeDocument/2006/relationships/notesSlide" Target="../notesSlides/notesSlide60.xml"/><Relationship Id="rId1" Type="http://schemas.openxmlformats.org/officeDocument/2006/relationships/slideLayout" Target="../slideLayouts/slideLayout32.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0" Type="http://schemas.openxmlformats.org/officeDocument/2006/relationships/image" Target="../media/image97.png"/><Relationship Id="rId4" Type="http://schemas.openxmlformats.org/officeDocument/2006/relationships/image" Target="../media/image92.png"/><Relationship Id="rId9" Type="http://schemas.openxmlformats.org/officeDocument/2006/relationships/image" Target="../media/image83.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3.xml"/><Relationship Id="rId1" Type="http://schemas.openxmlformats.org/officeDocument/2006/relationships/slideLayout" Target="../slideLayouts/slideLayout33.xml"/><Relationship Id="rId5" Type="http://schemas.openxmlformats.org/officeDocument/2006/relationships/image" Target="../media/image102.png"/><Relationship Id="rId4" Type="http://schemas.openxmlformats.org/officeDocument/2006/relationships/image" Target="../media/image101.emf"/></Relationships>
</file>

<file path=ppt/slides/_rels/slide64.xml.rels><?xml version="1.0" encoding="UTF-8" standalone="yes"?>
<Relationships xmlns="http://schemas.openxmlformats.org/package/2006/relationships"><Relationship Id="rId8" Type="http://schemas.openxmlformats.org/officeDocument/2006/relationships/image" Target="../media/image107.jpeg"/><Relationship Id="rId13" Type="http://schemas.openxmlformats.org/officeDocument/2006/relationships/image" Target="../media/image112.jpeg"/><Relationship Id="rId3" Type="http://schemas.openxmlformats.org/officeDocument/2006/relationships/image" Target="../media/image103.png"/><Relationship Id="rId7" Type="http://schemas.openxmlformats.org/officeDocument/2006/relationships/image" Target="../media/image106.jpeg"/><Relationship Id="rId12" Type="http://schemas.openxmlformats.org/officeDocument/2006/relationships/image" Target="../media/image111.jpeg"/><Relationship Id="rId2" Type="http://schemas.openxmlformats.org/officeDocument/2006/relationships/notesSlide" Target="../notesSlides/notesSlide64.xml"/><Relationship Id="rId16" Type="http://schemas.openxmlformats.org/officeDocument/2006/relationships/image" Target="../media/image115.png"/><Relationship Id="rId1" Type="http://schemas.openxmlformats.org/officeDocument/2006/relationships/slideLayout" Target="../slideLayouts/slideLayout36.xml"/><Relationship Id="rId6" Type="http://schemas.openxmlformats.org/officeDocument/2006/relationships/image" Target="../media/image101.emf"/><Relationship Id="rId11" Type="http://schemas.openxmlformats.org/officeDocument/2006/relationships/image" Target="../media/image110.jpeg"/><Relationship Id="rId5" Type="http://schemas.openxmlformats.org/officeDocument/2006/relationships/image" Target="../media/image105.jpeg"/><Relationship Id="rId15" Type="http://schemas.openxmlformats.org/officeDocument/2006/relationships/image" Target="../media/image114.jpeg"/><Relationship Id="rId10" Type="http://schemas.openxmlformats.org/officeDocument/2006/relationships/image" Target="../media/image109.jpeg"/><Relationship Id="rId4" Type="http://schemas.openxmlformats.org/officeDocument/2006/relationships/image" Target="../media/image104.jpeg"/><Relationship Id="rId9" Type="http://schemas.openxmlformats.org/officeDocument/2006/relationships/image" Target="../media/image108.png"/><Relationship Id="rId14" Type="http://schemas.openxmlformats.org/officeDocument/2006/relationships/image" Target="../media/image113.jpeg"/></Relationships>
</file>

<file path=ppt/slides/_rels/slide65.xml.rels><?xml version="1.0" encoding="UTF-8" standalone="yes"?>
<Relationships xmlns="http://schemas.openxmlformats.org/package/2006/relationships"><Relationship Id="rId8" Type="http://schemas.openxmlformats.org/officeDocument/2006/relationships/image" Target="../media/image107.jpeg"/><Relationship Id="rId13" Type="http://schemas.openxmlformats.org/officeDocument/2006/relationships/image" Target="../media/image112.jpeg"/><Relationship Id="rId3" Type="http://schemas.openxmlformats.org/officeDocument/2006/relationships/image" Target="../media/image103.png"/><Relationship Id="rId7" Type="http://schemas.openxmlformats.org/officeDocument/2006/relationships/image" Target="../media/image106.jpeg"/><Relationship Id="rId12" Type="http://schemas.openxmlformats.org/officeDocument/2006/relationships/image" Target="../media/image111.jpeg"/><Relationship Id="rId2" Type="http://schemas.openxmlformats.org/officeDocument/2006/relationships/notesSlide" Target="../notesSlides/notesSlide65.xml"/><Relationship Id="rId16" Type="http://schemas.openxmlformats.org/officeDocument/2006/relationships/image" Target="../media/image115.png"/><Relationship Id="rId1" Type="http://schemas.openxmlformats.org/officeDocument/2006/relationships/slideLayout" Target="../slideLayouts/slideLayout36.xml"/><Relationship Id="rId6" Type="http://schemas.openxmlformats.org/officeDocument/2006/relationships/image" Target="../media/image101.emf"/><Relationship Id="rId11" Type="http://schemas.openxmlformats.org/officeDocument/2006/relationships/image" Target="../media/image110.jpeg"/><Relationship Id="rId5" Type="http://schemas.openxmlformats.org/officeDocument/2006/relationships/image" Target="../media/image105.jpeg"/><Relationship Id="rId15" Type="http://schemas.openxmlformats.org/officeDocument/2006/relationships/image" Target="../media/image114.jpeg"/><Relationship Id="rId10" Type="http://schemas.openxmlformats.org/officeDocument/2006/relationships/image" Target="../media/image109.jpeg"/><Relationship Id="rId4" Type="http://schemas.openxmlformats.org/officeDocument/2006/relationships/image" Target="../media/image104.jpeg"/><Relationship Id="rId9" Type="http://schemas.openxmlformats.org/officeDocument/2006/relationships/image" Target="../media/image108.png"/><Relationship Id="rId14" Type="http://schemas.openxmlformats.org/officeDocument/2006/relationships/image" Target="../media/image113.jpeg"/></Relationships>
</file>

<file path=ppt/slides/_rels/slide66.xml.rels><?xml version="1.0" encoding="UTF-8" standalone="yes"?>
<Relationships xmlns="http://schemas.openxmlformats.org/package/2006/relationships"><Relationship Id="rId8" Type="http://schemas.openxmlformats.org/officeDocument/2006/relationships/image" Target="../media/image106.jpeg"/><Relationship Id="rId13" Type="http://schemas.openxmlformats.org/officeDocument/2006/relationships/image" Target="../media/image111.jpeg"/><Relationship Id="rId3" Type="http://schemas.openxmlformats.org/officeDocument/2006/relationships/image" Target="../media/image116.jpeg"/><Relationship Id="rId7" Type="http://schemas.openxmlformats.org/officeDocument/2006/relationships/image" Target="../media/image101.emf"/><Relationship Id="rId12" Type="http://schemas.openxmlformats.org/officeDocument/2006/relationships/image" Target="../media/image110.jpeg"/><Relationship Id="rId17" Type="http://schemas.openxmlformats.org/officeDocument/2006/relationships/image" Target="../media/image115.png"/><Relationship Id="rId2" Type="http://schemas.openxmlformats.org/officeDocument/2006/relationships/notesSlide" Target="../notesSlides/notesSlide66.xml"/><Relationship Id="rId16" Type="http://schemas.openxmlformats.org/officeDocument/2006/relationships/image" Target="../media/image114.jpeg"/><Relationship Id="rId1" Type="http://schemas.openxmlformats.org/officeDocument/2006/relationships/slideLayout" Target="../slideLayouts/slideLayout36.xml"/><Relationship Id="rId6" Type="http://schemas.openxmlformats.org/officeDocument/2006/relationships/image" Target="../media/image105.jpeg"/><Relationship Id="rId11" Type="http://schemas.openxmlformats.org/officeDocument/2006/relationships/image" Target="../media/image109.jpeg"/><Relationship Id="rId5" Type="http://schemas.openxmlformats.org/officeDocument/2006/relationships/image" Target="../media/image104.jpeg"/><Relationship Id="rId15" Type="http://schemas.openxmlformats.org/officeDocument/2006/relationships/image" Target="../media/image113.jpeg"/><Relationship Id="rId10" Type="http://schemas.openxmlformats.org/officeDocument/2006/relationships/image" Target="../media/image108.png"/><Relationship Id="rId4" Type="http://schemas.openxmlformats.org/officeDocument/2006/relationships/image" Target="../media/image103.png"/><Relationship Id="rId9" Type="http://schemas.openxmlformats.org/officeDocument/2006/relationships/image" Target="../media/image107.jpeg"/><Relationship Id="rId14" Type="http://schemas.openxmlformats.org/officeDocument/2006/relationships/image" Target="../media/image112.jpeg"/></Relationships>
</file>

<file path=ppt/slides/_rels/slide67.xml.rels><?xml version="1.0" encoding="UTF-8" standalone="yes"?>
<Relationships xmlns="http://schemas.openxmlformats.org/package/2006/relationships"><Relationship Id="rId8" Type="http://schemas.openxmlformats.org/officeDocument/2006/relationships/image" Target="../media/image106.jpeg"/><Relationship Id="rId13" Type="http://schemas.openxmlformats.org/officeDocument/2006/relationships/image" Target="../media/image111.jpeg"/><Relationship Id="rId3" Type="http://schemas.openxmlformats.org/officeDocument/2006/relationships/image" Target="../media/image116.jpeg"/><Relationship Id="rId7" Type="http://schemas.openxmlformats.org/officeDocument/2006/relationships/image" Target="../media/image101.emf"/><Relationship Id="rId12" Type="http://schemas.openxmlformats.org/officeDocument/2006/relationships/image" Target="../media/image110.jpeg"/><Relationship Id="rId17" Type="http://schemas.openxmlformats.org/officeDocument/2006/relationships/image" Target="../media/image115.png"/><Relationship Id="rId2" Type="http://schemas.openxmlformats.org/officeDocument/2006/relationships/notesSlide" Target="../notesSlides/notesSlide67.xml"/><Relationship Id="rId16" Type="http://schemas.openxmlformats.org/officeDocument/2006/relationships/image" Target="../media/image114.jpeg"/><Relationship Id="rId1" Type="http://schemas.openxmlformats.org/officeDocument/2006/relationships/slideLayout" Target="../slideLayouts/slideLayout36.xml"/><Relationship Id="rId6" Type="http://schemas.openxmlformats.org/officeDocument/2006/relationships/image" Target="../media/image105.jpeg"/><Relationship Id="rId11" Type="http://schemas.openxmlformats.org/officeDocument/2006/relationships/image" Target="../media/image109.jpeg"/><Relationship Id="rId5" Type="http://schemas.openxmlformats.org/officeDocument/2006/relationships/image" Target="../media/image104.jpeg"/><Relationship Id="rId15" Type="http://schemas.openxmlformats.org/officeDocument/2006/relationships/image" Target="../media/image113.jpeg"/><Relationship Id="rId10" Type="http://schemas.openxmlformats.org/officeDocument/2006/relationships/image" Target="../media/image108.png"/><Relationship Id="rId4" Type="http://schemas.openxmlformats.org/officeDocument/2006/relationships/image" Target="../media/image103.png"/><Relationship Id="rId9" Type="http://schemas.openxmlformats.org/officeDocument/2006/relationships/image" Target="../media/image107.jpeg"/><Relationship Id="rId14" Type="http://schemas.openxmlformats.org/officeDocument/2006/relationships/image" Target="../media/image112.jpeg"/></Relationships>
</file>

<file path=ppt/slides/_rels/slide68.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68.xml"/><Relationship Id="rId1" Type="http://schemas.openxmlformats.org/officeDocument/2006/relationships/slideLayout" Target="../slideLayouts/slideLayout33.xml"/></Relationships>
</file>

<file path=ppt/slides/_rels/slide69.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69.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71.xml"/><Relationship Id="rId1" Type="http://schemas.openxmlformats.org/officeDocument/2006/relationships/slideLayout" Target="../slideLayouts/slideLayout32.xml"/><Relationship Id="rId6" Type="http://schemas.openxmlformats.org/officeDocument/2006/relationships/image" Target="../media/image122.jpeg"/><Relationship Id="rId5" Type="http://schemas.openxmlformats.org/officeDocument/2006/relationships/image" Target="../media/image121.jpg"/><Relationship Id="rId4" Type="http://schemas.openxmlformats.org/officeDocument/2006/relationships/image" Target="../media/image120.jpeg"/></Relationships>
</file>

<file path=ppt/slides/_rels/slide7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2.xml"/><Relationship Id="rId1"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3.xml"/><Relationship Id="rId1" Type="http://schemas.openxmlformats.org/officeDocument/2006/relationships/slideLayout" Target="../slideLayouts/slideLayout35.xml"/></Relationships>
</file>

<file path=ppt/slides/_rels/slide7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4.xml"/><Relationship Id="rId1" Type="http://schemas.openxmlformats.org/officeDocument/2006/relationships/slideLayout" Target="../slideLayouts/slideLayout35.xml"/><Relationship Id="rId4" Type="http://schemas.openxmlformats.org/officeDocument/2006/relationships/image" Target="../media/image125.png"/></Relationships>
</file>

<file path=ppt/slides/_rels/slide75.xml.rels><?xml version="1.0" encoding="UTF-8" standalone="yes"?>
<Relationships xmlns="http://schemas.openxmlformats.org/package/2006/relationships"><Relationship Id="rId3" Type="http://schemas.openxmlformats.org/officeDocument/2006/relationships/hyperlink" Target="mailto:JamesSerra3@gmail.com" TargetMode="External"/><Relationship Id="rId2" Type="http://schemas.openxmlformats.org/officeDocument/2006/relationships/notesSlide" Target="../notesSlides/notesSlide75.xml"/><Relationship Id="rId1" Type="http://schemas.openxmlformats.org/officeDocument/2006/relationships/slideLayout" Target="../slideLayouts/slideLayout3.xml"/><Relationship Id="rId5" Type="http://schemas.openxmlformats.org/officeDocument/2006/relationships/hyperlink" Target="http://www.jamesserra.com/" TargetMode="External"/><Relationship Id="rId4" Type="http://schemas.openxmlformats.org/officeDocument/2006/relationships/hyperlink" Target="http://www.linkedin.com/in/JamesSerra"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23.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25.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928" y="-17441"/>
            <a:ext cx="12226093" cy="6874956"/>
          </a:xfrm>
          <a:prstGeom prst="rect">
            <a:avLst/>
          </a:prstGeom>
        </p:spPr>
      </p:pic>
      <p:sp>
        <p:nvSpPr>
          <p:cNvPr id="46" name="Freeform 45"/>
          <p:cNvSpPr/>
          <p:nvPr/>
        </p:nvSpPr>
        <p:spPr bwMode="auto">
          <a:xfrm>
            <a:off x="-17926" y="-17441"/>
            <a:ext cx="12221551" cy="6356927"/>
          </a:xfrm>
          <a:custGeom>
            <a:avLst/>
            <a:gdLst>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5466308 w 7563173"/>
              <a:gd name="connsiteY4" fmla="*/ 6299201 h 6464173"/>
              <a:gd name="connsiteX5" fmla="*/ 5232400 w 7563173"/>
              <a:gd name="connsiteY5" fmla="*/ 6299201 h 6464173"/>
              <a:gd name="connsiteX6" fmla="*/ 5232400 w 7563173"/>
              <a:gd name="connsiteY6" fmla="*/ 6464173 h 6464173"/>
              <a:gd name="connsiteX7" fmla="*/ 5160936 w 7563173"/>
              <a:gd name="connsiteY7" fmla="*/ 6464173 h 6464173"/>
              <a:gd name="connsiteX8" fmla="*/ 0 w 7563173"/>
              <a:gd name="connsiteY8" fmla="*/ 6464173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183383 w 7563173"/>
              <a:gd name="connsiteY4" fmla="*/ 1091505 h 6464173"/>
              <a:gd name="connsiteX5" fmla="*/ 5466308 w 7563173"/>
              <a:gd name="connsiteY5" fmla="*/ 6299201 h 6464173"/>
              <a:gd name="connsiteX6" fmla="*/ 5232400 w 7563173"/>
              <a:gd name="connsiteY6" fmla="*/ 6299201 h 6464173"/>
              <a:gd name="connsiteX7" fmla="*/ 5232400 w 7563173"/>
              <a:gd name="connsiteY7" fmla="*/ 6464173 h 6464173"/>
              <a:gd name="connsiteX8" fmla="*/ 5160936 w 7563173"/>
              <a:gd name="connsiteY8" fmla="*/ 6464173 h 6464173"/>
              <a:gd name="connsiteX9" fmla="*/ 0 w 7563173"/>
              <a:gd name="connsiteY9" fmla="*/ 6464173 h 6464173"/>
              <a:gd name="connsiteX10" fmla="*/ 0 w 7563173"/>
              <a:gd name="connsiteY10"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183383 w 7563173"/>
              <a:gd name="connsiteY5" fmla="*/ 1091505 h 6464173"/>
              <a:gd name="connsiteX6" fmla="*/ 5466308 w 7563173"/>
              <a:gd name="connsiteY6" fmla="*/ 6299201 h 6464173"/>
              <a:gd name="connsiteX7" fmla="*/ 5232400 w 7563173"/>
              <a:gd name="connsiteY7" fmla="*/ 6299201 h 6464173"/>
              <a:gd name="connsiteX8" fmla="*/ 5232400 w 7563173"/>
              <a:gd name="connsiteY8" fmla="*/ 6464173 h 6464173"/>
              <a:gd name="connsiteX9" fmla="*/ 5160936 w 7563173"/>
              <a:gd name="connsiteY9" fmla="*/ 6464173 h 6464173"/>
              <a:gd name="connsiteX10" fmla="*/ 0 w 7563173"/>
              <a:gd name="connsiteY10" fmla="*/ 6464173 h 6464173"/>
              <a:gd name="connsiteX11" fmla="*/ 0 w 7563173"/>
              <a:gd name="connsiteY11"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418788 w 7563173"/>
              <a:gd name="connsiteY5" fmla="*/ 474005 h 6464173"/>
              <a:gd name="connsiteX6" fmla="*/ 7183383 w 7563173"/>
              <a:gd name="connsiteY6" fmla="*/ 1091505 h 6464173"/>
              <a:gd name="connsiteX7" fmla="*/ 5466308 w 7563173"/>
              <a:gd name="connsiteY7" fmla="*/ 6299201 h 6464173"/>
              <a:gd name="connsiteX8" fmla="*/ 5232400 w 7563173"/>
              <a:gd name="connsiteY8" fmla="*/ 6299201 h 6464173"/>
              <a:gd name="connsiteX9" fmla="*/ 5232400 w 7563173"/>
              <a:gd name="connsiteY9" fmla="*/ 6464173 h 6464173"/>
              <a:gd name="connsiteX10" fmla="*/ 5160936 w 7563173"/>
              <a:gd name="connsiteY10" fmla="*/ 6464173 h 6464173"/>
              <a:gd name="connsiteX11" fmla="*/ 0 w 7563173"/>
              <a:gd name="connsiteY11" fmla="*/ 6464173 h 6464173"/>
              <a:gd name="connsiteX12" fmla="*/ 0 w 7563173"/>
              <a:gd name="connsiteY12" fmla="*/ 0 h 6464173"/>
              <a:gd name="connsiteX0" fmla="*/ 0 w 11638621"/>
              <a:gd name="connsiteY0" fmla="*/ 0 h 6464173"/>
              <a:gd name="connsiteX1" fmla="*/ 2151781 w 11638621"/>
              <a:gd name="connsiteY1" fmla="*/ 0 h 6464173"/>
              <a:gd name="connsiteX2" fmla="*/ 5160936 w 11638621"/>
              <a:gd name="connsiteY2" fmla="*/ 0 h 6464173"/>
              <a:gd name="connsiteX3" fmla="*/ 11638621 w 11638621"/>
              <a:gd name="connsiteY3" fmla="*/ 58809 h 6464173"/>
              <a:gd name="connsiteX4" fmla="*/ 7286372 w 11638621"/>
              <a:gd name="connsiteY4" fmla="*/ 826862 h 6464173"/>
              <a:gd name="connsiteX5" fmla="*/ 7418788 w 11638621"/>
              <a:gd name="connsiteY5" fmla="*/ 474005 h 6464173"/>
              <a:gd name="connsiteX6" fmla="*/ 7183383 w 11638621"/>
              <a:gd name="connsiteY6" fmla="*/ 1091505 h 6464173"/>
              <a:gd name="connsiteX7" fmla="*/ 5466308 w 11638621"/>
              <a:gd name="connsiteY7" fmla="*/ 6299201 h 6464173"/>
              <a:gd name="connsiteX8" fmla="*/ 5232400 w 11638621"/>
              <a:gd name="connsiteY8" fmla="*/ 6299201 h 6464173"/>
              <a:gd name="connsiteX9" fmla="*/ 5232400 w 11638621"/>
              <a:gd name="connsiteY9" fmla="*/ 6464173 h 6464173"/>
              <a:gd name="connsiteX10" fmla="*/ 5160936 w 11638621"/>
              <a:gd name="connsiteY10" fmla="*/ 6464173 h 6464173"/>
              <a:gd name="connsiteX11" fmla="*/ 0 w 11638621"/>
              <a:gd name="connsiteY11" fmla="*/ 6464173 h 6464173"/>
              <a:gd name="connsiteX12" fmla="*/ 0 w 11638621"/>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7418788 w 11829888"/>
              <a:gd name="connsiteY5" fmla="*/ 474005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11773780 w 11829888"/>
              <a:gd name="connsiteY4" fmla="*/ 576921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10214223 w 11874027"/>
              <a:gd name="connsiteY5" fmla="*/ 797457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5 w 11874027"/>
              <a:gd name="connsiteY5" fmla="*/ 723945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6 w 11874027"/>
              <a:gd name="connsiteY5" fmla="*/ 606326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2421344"/>
              <a:gd name="connsiteY0" fmla="*/ 0 h 6464173"/>
              <a:gd name="connsiteX1" fmla="*/ 2151781 w 12421344"/>
              <a:gd name="connsiteY1" fmla="*/ 0 h 6464173"/>
              <a:gd name="connsiteX2" fmla="*/ 5160936 w 12421344"/>
              <a:gd name="connsiteY2" fmla="*/ 0 h 6464173"/>
              <a:gd name="connsiteX3" fmla="*/ 12421344 w 12421344"/>
              <a:gd name="connsiteY3" fmla="*/ 14702 h 6464173"/>
              <a:gd name="connsiteX4" fmla="*/ 11773780 w 12421344"/>
              <a:gd name="connsiteY4" fmla="*/ 576921 h 6464173"/>
              <a:gd name="connsiteX5" fmla="*/ 7757186 w 12421344"/>
              <a:gd name="connsiteY5" fmla="*/ 606326 h 6464173"/>
              <a:gd name="connsiteX6" fmla="*/ 7183383 w 12421344"/>
              <a:gd name="connsiteY6" fmla="*/ 1091505 h 6464173"/>
              <a:gd name="connsiteX7" fmla="*/ 5466308 w 12421344"/>
              <a:gd name="connsiteY7" fmla="*/ 6299201 h 6464173"/>
              <a:gd name="connsiteX8" fmla="*/ 5232400 w 12421344"/>
              <a:gd name="connsiteY8" fmla="*/ 6299201 h 6464173"/>
              <a:gd name="connsiteX9" fmla="*/ 5232400 w 12421344"/>
              <a:gd name="connsiteY9" fmla="*/ 6464173 h 6464173"/>
              <a:gd name="connsiteX10" fmla="*/ 5160936 w 12421344"/>
              <a:gd name="connsiteY10" fmla="*/ 6464173 h 6464173"/>
              <a:gd name="connsiteX11" fmla="*/ 0 w 12421344"/>
              <a:gd name="connsiteY11" fmla="*/ 6464173 h 6464173"/>
              <a:gd name="connsiteX12" fmla="*/ 0 w 12421344"/>
              <a:gd name="connsiteY12" fmla="*/ 0 h 6464173"/>
              <a:gd name="connsiteX0" fmla="*/ 0 w 12435121"/>
              <a:gd name="connsiteY0" fmla="*/ 0 h 6464173"/>
              <a:gd name="connsiteX1" fmla="*/ 2151781 w 12435121"/>
              <a:gd name="connsiteY1" fmla="*/ 0 h 6464173"/>
              <a:gd name="connsiteX2" fmla="*/ 5160936 w 12435121"/>
              <a:gd name="connsiteY2" fmla="*/ 0 h 6464173"/>
              <a:gd name="connsiteX3" fmla="*/ 12421344 w 12435121"/>
              <a:gd name="connsiteY3" fmla="*/ 14702 h 6464173"/>
              <a:gd name="connsiteX4" fmla="*/ 12435121 w 12435121"/>
              <a:gd name="connsiteY4" fmla="*/ 569325 h 6464173"/>
              <a:gd name="connsiteX5" fmla="*/ 7757186 w 12435121"/>
              <a:gd name="connsiteY5" fmla="*/ 606326 h 6464173"/>
              <a:gd name="connsiteX6" fmla="*/ 7183383 w 12435121"/>
              <a:gd name="connsiteY6" fmla="*/ 1091505 h 6464173"/>
              <a:gd name="connsiteX7" fmla="*/ 5466308 w 12435121"/>
              <a:gd name="connsiteY7" fmla="*/ 6299201 h 6464173"/>
              <a:gd name="connsiteX8" fmla="*/ 5232400 w 12435121"/>
              <a:gd name="connsiteY8" fmla="*/ 6299201 h 6464173"/>
              <a:gd name="connsiteX9" fmla="*/ 5232400 w 12435121"/>
              <a:gd name="connsiteY9" fmla="*/ 6464173 h 6464173"/>
              <a:gd name="connsiteX10" fmla="*/ 5160936 w 12435121"/>
              <a:gd name="connsiteY10" fmla="*/ 6464173 h 6464173"/>
              <a:gd name="connsiteX11" fmla="*/ 0 w 12435121"/>
              <a:gd name="connsiteY11" fmla="*/ 6464173 h 6464173"/>
              <a:gd name="connsiteX12" fmla="*/ 0 w 12435121"/>
              <a:gd name="connsiteY12" fmla="*/ 0 h 6464173"/>
              <a:gd name="connsiteX0" fmla="*/ 0 w 12436548"/>
              <a:gd name="connsiteY0" fmla="*/ 0 h 6464173"/>
              <a:gd name="connsiteX1" fmla="*/ 2151781 w 12436548"/>
              <a:gd name="connsiteY1" fmla="*/ 0 h 6464173"/>
              <a:gd name="connsiteX2" fmla="*/ 5160936 w 12436548"/>
              <a:gd name="connsiteY2" fmla="*/ 0 h 6464173"/>
              <a:gd name="connsiteX3" fmla="*/ 12436548 w 12436548"/>
              <a:gd name="connsiteY3" fmla="*/ 14702 h 6464173"/>
              <a:gd name="connsiteX4" fmla="*/ 12435121 w 12436548"/>
              <a:gd name="connsiteY4" fmla="*/ 569325 h 6464173"/>
              <a:gd name="connsiteX5" fmla="*/ 7757186 w 12436548"/>
              <a:gd name="connsiteY5" fmla="*/ 606326 h 6464173"/>
              <a:gd name="connsiteX6" fmla="*/ 7183383 w 12436548"/>
              <a:gd name="connsiteY6" fmla="*/ 1091505 h 6464173"/>
              <a:gd name="connsiteX7" fmla="*/ 5466308 w 12436548"/>
              <a:gd name="connsiteY7" fmla="*/ 6299201 h 6464173"/>
              <a:gd name="connsiteX8" fmla="*/ 5232400 w 12436548"/>
              <a:gd name="connsiteY8" fmla="*/ 6299201 h 6464173"/>
              <a:gd name="connsiteX9" fmla="*/ 5232400 w 12436548"/>
              <a:gd name="connsiteY9" fmla="*/ 6464173 h 6464173"/>
              <a:gd name="connsiteX10" fmla="*/ 5160936 w 12436548"/>
              <a:gd name="connsiteY10" fmla="*/ 6464173 h 6464173"/>
              <a:gd name="connsiteX11" fmla="*/ 0 w 12436548"/>
              <a:gd name="connsiteY11" fmla="*/ 6464173 h 6464173"/>
              <a:gd name="connsiteX12" fmla="*/ 0 w 12436548"/>
              <a:gd name="connsiteY12" fmla="*/ 0 h 646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6548" h="6464173">
                <a:moveTo>
                  <a:pt x="0" y="0"/>
                </a:moveTo>
                <a:lnTo>
                  <a:pt x="2151781" y="0"/>
                </a:lnTo>
                <a:lnTo>
                  <a:pt x="5160936" y="0"/>
                </a:lnTo>
                <a:lnTo>
                  <a:pt x="12436548" y="14702"/>
                </a:lnTo>
                <a:cubicBezTo>
                  <a:pt x="12436072" y="199576"/>
                  <a:pt x="12435597" y="384451"/>
                  <a:pt x="12435121" y="569325"/>
                </a:cubicBezTo>
                <a:lnTo>
                  <a:pt x="7757186" y="606326"/>
                </a:lnTo>
                <a:lnTo>
                  <a:pt x="7183383" y="1091505"/>
                </a:lnTo>
                <a:lnTo>
                  <a:pt x="5466308" y="6299201"/>
                </a:lnTo>
                <a:lnTo>
                  <a:pt x="5232400" y="6299201"/>
                </a:lnTo>
                <a:lnTo>
                  <a:pt x="5232400" y="6464173"/>
                </a:lnTo>
                <a:lnTo>
                  <a:pt x="5160936" y="6464173"/>
                </a:lnTo>
                <a:lnTo>
                  <a:pt x="0" y="6464173"/>
                </a:lnTo>
                <a:lnTo>
                  <a:pt x="0" y="0"/>
                </a:lnTo>
                <a:close/>
              </a:path>
            </a:pathLst>
          </a:custGeom>
          <a:gradFill flip="none" rotWithShape="1">
            <a:gsLst>
              <a:gs pos="0">
                <a:srgbClr val="001F4E">
                  <a:alpha val="95000"/>
                </a:srgbClr>
              </a:gs>
              <a:gs pos="85000">
                <a:srgbClr val="001F4E">
                  <a:alpha val="95000"/>
                </a:srgbClr>
              </a:gs>
              <a:gs pos="100000">
                <a:srgbClr val="001F4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23" name="Freeform 22"/>
          <p:cNvSpPr/>
          <p:nvPr/>
        </p:nvSpPr>
        <p:spPr>
          <a:xfrm rot="5400000" flipV="1">
            <a:off x="4260341" y="6092895"/>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rot="5400000" flipV="1">
            <a:off x="1811118" y="4512916"/>
            <a:ext cx="518026" cy="4171167"/>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6" name="Freeform 25"/>
          <p:cNvSpPr/>
          <p:nvPr/>
        </p:nvSpPr>
        <p:spPr>
          <a:xfrm rot="1099369" flipV="1">
            <a:off x="5201632" y="5053137"/>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6" name="Freeform 55"/>
          <p:cNvSpPr/>
          <p:nvPr/>
        </p:nvSpPr>
        <p:spPr>
          <a:xfrm rot="16200000" flipV="1">
            <a:off x="7652367" y="53988"/>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5" name="Freeform 54"/>
          <p:cNvSpPr/>
          <p:nvPr/>
        </p:nvSpPr>
        <p:spPr>
          <a:xfrm rot="11899369" flipV="1">
            <a:off x="6713133" y="526269"/>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8" name="Down Arrow 57"/>
          <p:cNvSpPr/>
          <p:nvPr/>
        </p:nvSpPr>
        <p:spPr>
          <a:xfrm rot="5400000" flipV="1">
            <a:off x="9783017" y="-1334239"/>
            <a:ext cx="836665" cy="3775046"/>
          </a:xfrm>
          <a:prstGeom prst="downArrow">
            <a:avLst>
              <a:gd name="adj1" fmla="val 61858"/>
              <a:gd name="adj2" fmla="val 58361"/>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rot="11908999" flipV="1">
            <a:off x="5935304" y="1936512"/>
            <a:ext cx="518026" cy="3423531"/>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5" name="Title 4"/>
          <p:cNvSpPr>
            <a:spLocks noGrp="1"/>
          </p:cNvSpPr>
          <p:nvPr>
            <p:ph type="ctrTitle"/>
          </p:nvPr>
        </p:nvSpPr>
        <p:spPr>
          <a:xfrm>
            <a:off x="312959" y="522978"/>
            <a:ext cx="6067744" cy="3151667"/>
          </a:xfrm>
        </p:spPr>
        <p:txBody>
          <a:bodyPr vert="horz" wrap="square" lIns="89642" tIns="91440" rIns="146304" bIns="91440" rtlCol="0" anchor="t">
            <a:noAutofit/>
          </a:bodyPr>
          <a:lstStyle/>
          <a:p>
            <a:r>
              <a:rPr lang="fr-FR" sz="3600" b="1" dirty="0">
                <a:solidFill>
                  <a:schemeClr val="bg1"/>
                </a:solidFill>
              </a:rPr>
              <a:t>Big Data </a:t>
            </a:r>
            <a:r>
              <a:rPr lang="fr-FR" sz="3600" b="1" dirty="0" err="1">
                <a:solidFill>
                  <a:schemeClr val="bg1"/>
                </a:solidFill>
              </a:rPr>
              <a:t>with</a:t>
            </a:r>
            <a:r>
              <a:rPr lang="fr-FR" sz="3600" b="1" dirty="0">
                <a:solidFill>
                  <a:schemeClr val="bg1"/>
                </a:solidFill>
              </a:rPr>
              <a:t> Azure</a:t>
            </a:r>
            <a:br>
              <a:rPr lang="fr-FR" sz="3600" b="1" dirty="0">
                <a:solidFill>
                  <a:schemeClr val="bg1"/>
                </a:solidFill>
              </a:rPr>
            </a:br>
            <a:r>
              <a:rPr lang="fr-FR" sz="2400" b="1" dirty="0" err="1">
                <a:solidFill>
                  <a:schemeClr val="bg1"/>
                </a:solidFill>
              </a:rPr>
              <a:t>What’s</a:t>
            </a:r>
            <a:r>
              <a:rPr lang="fr-FR" sz="2400" b="1" dirty="0">
                <a:solidFill>
                  <a:schemeClr val="bg1"/>
                </a:solidFill>
              </a:rPr>
              <a:t> New and </a:t>
            </a:r>
            <a:r>
              <a:rPr lang="fr-FR" sz="2400" b="1" dirty="0" err="1">
                <a:solidFill>
                  <a:schemeClr val="bg1"/>
                </a:solidFill>
              </a:rPr>
              <a:t>What’s</a:t>
            </a:r>
            <a:r>
              <a:rPr lang="fr-FR" sz="2400" b="1" dirty="0">
                <a:solidFill>
                  <a:schemeClr val="bg1"/>
                </a:solidFill>
              </a:rPr>
              <a:t> on the Roadmap</a:t>
            </a:r>
            <a:endParaRPr lang="en-US" sz="2400" dirty="0">
              <a:solidFill>
                <a:schemeClr val="bg1"/>
              </a:solidFill>
            </a:endParaRPr>
          </a:p>
        </p:txBody>
      </p:sp>
      <p:sp>
        <p:nvSpPr>
          <p:cNvPr id="6" name="Subtitle 5"/>
          <p:cNvSpPr>
            <a:spLocks noGrp="1"/>
          </p:cNvSpPr>
          <p:nvPr>
            <p:ph type="subTitle" idx="1"/>
          </p:nvPr>
        </p:nvSpPr>
        <p:spPr>
          <a:xfrm>
            <a:off x="326421" y="4215064"/>
            <a:ext cx="5151935" cy="606981"/>
          </a:xfrm>
        </p:spPr>
        <p:txBody>
          <a:bodyPr vert="horz" wrap="square" lIns="89642" tIns="146304" rIns="182880" bIns="146304" rtlCol="0" anchor="t">
            <a:noAutofit/>
          </a:bodyPr>
          <a:lstStyle/>
          <a:p>
            <a:pPr lvl="0"/>
            <a:r>
              <a:rPr lang="en-US" sz="3137" dirty="0">
                <a:solidFill>
                  <a:schemeClr val="bg1"/>
                </a:solidFill>
              </a:rPr>
              <a:t>James Serra</a:t>
            </a:r>
          </a:p>
          <a:p>
            <a:pPr lvl="0"/>
            <a:r>
              <a:rPr lang="en-GB" sz="1961" dirty="0">
                <a:solidFill>
                  <a:schemeClr val="bg1"/>
                </a:solidFill>
              </a:rPr>
              <a:t>Big Data Evangelist</a:t>
            </a:r>
          </a:p>
          <a:p>
            <a:pPr lvl="0"/>
            <a:r>
              <a:rPr lang="en-GB" sz="1961" dirty="0">
                <a:solidFill>
                  <a:schemeClr val="bg1"/>
                </a:solidFill>
              </a:rPr>
              <a:t>Microsoft</a:t>
            </a:r>
          </a:p>
          <a:p>
            <a:pPr lvl="0"/>
            <a:r>
              <a:rPr lang="en-US" sz="1961" dirty="0">
                <a:solidFill>
                  <a:schemeClr val="bg1"/>
                </a:solidFill>
              </a:rPr>
              <a:t>JamesSerra3@gmail.com</a:t>
            </a:r>
            <a:endParaRPr lang="en-GB" sz="1961" dirty="0">
              <a:solidFill>
                <a:schemeClr val="bg1"/>
              </a:solidFill>
            </a:endParaRPr>
          </a:p>
        </p:txBody>
      </p:sp>
      <p:sp>
        <p:nvSpPr>
          <p:cNvPr id="2" name="TextBox 1"/>
          <p:cNvSpPr txBox="1"/>
          <p:nvPr/>
        </p:nvSpPr>
        <p:spPr>
          <a:xfrm>
            <a:off x="326421" y="1942697"/>
            <a:ext cx="39801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1"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2763974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Oval 165"/>
          <p:cNvSpPr/>
          <p:nvPr/>
        </p:nvSpPr>
        <p:spPr bwMode="auto">
          <a:xfrm>
            <a:off x="3482099" y="431025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7" name="Oval 166"/>
          <p:cNvSpPr/>
          <p:nvPr/>
        </p:nvSpPr>
        <p:spPr bwMode="auto">
          <a:xfrm>
            <a:off x="3478364" y="5316811"/>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5" name="Oval 164"/>
          <p:cNvSpPr/>
          <p:nvPr/>
        </p:nvSpPr>
        <p:spPr bwMode="auto">
          <a:xfrm>
            <a:off x="3485987" y="3303704"/>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164" name="Oval 163"/>
          <p:cNvSpPr/>
          <p:nvPr/>
        </p:nvSpPr>
        <p:spPr bwMode="auto">
          <a:xfrm>
            <a:off x="3481266" y="2303828"/>
            <a:ext cx="888706" cy="888706"/>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Proven analytics engine</a:t>
            </a:r>
            <a:br>
              <a:rPr lang="en-US" dirty="0"/>
            </a:br>
            <a:r>
              <a:rPr lang="en-US" sz="3137"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grpSp>
        <p:nvGrpSpPr>
          <p:cNvPr id="49" name="Group 48"/>
          <p:cNvGrpSpPr/>
          <p:nvPr/>
        </p:nvGrpSpPr>
        <p:grpSpPr>
          <a:xfrm>
            <a:off x="4673717" y="2308469"/>
            <a:ext cx="3989090" cy="3899448"/>
            <a:chOff x="4767434" y="2354262"/>
            <a:chExt cx="4069080" cy="3977640"/>
          </a:xfrm>
        </p:grpSpPr>
        <p:sp>
          <p:nvSpPr>
            <p:cNvPr id="43" name="TextBox 42"/>
            <p:cNvSpPr txBox="1"/>
            <p:nvPr/>
          </p:nvSpPr>
          <p:spPr>
            <a:xfrm>
              <a:off x="4767434" y="436594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 calculations</a:t>
              </a:r>
            </a:p>
          </p:txBody>
        </p:sp>
        <p:sp>
          <p:nvSpPr>
            <p:cNvPr id="42" name="TextBox 41"/>
            <p:cNvSpPr txBox="1"/>
            <p:nvPr/>
          </p:nvSpPr>
          <p:spPr>
            <a:xfrm>
              <a:off x="4767434" y="3360102"/>
              <a:ext cx="40690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Tabular model</a:t>
              </a:r>
            </a:p>
          </p:txBody>
        </p:sp>
        <p:grpSp>
          <p:nvGrpSpPr>
            <p:cNvPr id="46" name="Group 45"/>
            <p:cNvGrpSpPr/>
            <p:nvPr/>
          </p:nvGrpSpPr>
          <p:grpSpPr>
            <a:xfrm>
              <a:off x="4767434" y="5371782"/>
              <a:ext cx="4069080" cy="960120"/>
              <a:chOff x="4767434" y="5371782"/>
              <a:chExt cx="4069080" cy="960120"/>
            </a:xfrm>
          </p:grpSpPr>
          <p:sp>
            <p:nvSpPr>
              <p:cNvPr id="44" name="TextBox 43"/>
              <p:cNvSpPr txBox="1"/>
              <p:nvPr/>
            </p:nvSpPr>
            <p:spPr>
              <a:xfrm>
                <a:off x="4767434"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In-memory</a:t>
                </a:r>
              </a:p>
            </p:txBody>
          </p:sp>
          <p:sp>
            <p:nvSpPr>
              <p:cNvPr id="45" name="TextBox 44"/>
              <p:cNvSpPr txBox="1"/>
              <p:nvPr/>
            </p:nvSpPr>
            <p:spPr>
              <a:xfrm>
                <a:off x="6828739" y="5371782"/>
                <a:ext cx="2007775"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irectQuery</a:t>
                </a:r>
              </a:p>
            </p:txBody>
          </p:sp>
        </p:grpSp>
        <p:grpSp>
          <p:nvGrpSpPr>
            <p:cNvPr id="36" name="Group 35"/>
            <p:cNvGrpSpPr/>
            <p:nvPr/>
          </p:nvGrpSpPr>
          <p:grpSpPr>
            <a:xfrm>
              <a:off x="4767434" y="2354262"/>
              <a:ext cx="4069080" cy="960120"/>
              <a:chOff x="4767434" y="2354262"/>
              <a:chExt cx="4069080" cy="960120"/>
            </a:xfrm>
          </p:grpSpPr>
          <p:sp>
            <p:nvSpPr>
              <p:cNvPr id="41" name="TextBox 40"/>
              <p:cNvSpPr txBox="1"/>
              <p:nvPr/>
            </p:nvSpPr>
            <p:spPr>
              <a:xfrm>
                <a:off x="47674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MDX</a:t>
                </a:r>
              </a:p>
            </p:txBody>
          </p:sp>
          <p:sp>
            <p:nvSpPr>
              <p:cNvPr id="48" name="TextBox 47"/>
              <p:cNvSpPr txBox="1"/>
              <p:nvPr/>
            </p:nvSpPr>
            <p:spPr>
              <a:xfrm>
                <a:off x="6824834" y="2354262"/>
                <a:ext cx="2011680" cy="960120"/>
              </a:xfrm>
              <a:prstGeom prst="rect">
                <a:avLst/>
              </a:prstGeom>
              <a:solidFill>
                <a:srgbClr val="7F7F7F"/>
              </a:solidFill>
            </p:spPr>
            <p:txBody>
              <a:bodyPr wrap="square" lIns="182854" tIns="146284" rIns="182854" bIns="146284" rtlCol="0" anchor="ctr">
                <a:noAutofit/>
              </a:bodyPr>
              <a:lstStyle/>
              <a:p>
                <a:pPr algn="ctr" defTabSz="914225">
                  <a:lnSpc>
                    <a:spcPct val="90000"/>
                  </a:lnSpc>
                  <a:spcAft>
                    <a:spcPts val="600"/>
                  </a:spcAft>
                  <a:defRPr/>
                </a:pPr>
                <a:r>
                  <a:rPr lang="en-US" sz="1961" kern="0" dirty="0">
                    <a:solidFill>
                      <a:srgbClr val="FFFFFF"/>
                    </a:solidFill>
                    <a:latin typeface="Segoe UI Semilight"/>
                  </a:rPr>
                  <a:t>DAX</a:t>
                </a:r>
              </a:p>
            </p:txBody>
          </p:sp>
        </p:grpSp>
      </p:grpSp>
      <p:sp>
        <p:nvSpPr>
          <p:cNvPr id="55" name="Rectangle 54"/>
          <p:cNvSpPr/>
          <p:nvPr/>
        </p:nvSpPr>
        <p:spPr>
          <a:xfrm>
            <a:off x="3228911" y="1860257"/>
            <a:ext cx="1380084" cy="256467"/>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BI semantic model</a:t>
            </a:r>
          </a:p>
        </p:txBody>
      </p:sp>
      <p:sp>
        <p:nvSpPr>
          <p:cNvPr id="38" name="TextBox 37"/>
          <p:cNvSpPr txBox="1"/>
          <p:nvPr/>
        </p:nvSpPr>
        <p:spPr>
          <a:xfrm>
            <a:off x="3482127" y="3791546"/>
            <a:ext cx="896425" cy="256467"/>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 </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model</a:t>
            </a:r>
          </a:p>
        </p:txBody>
      </p:sp>
      <p:sp>
        <p:nvSpPr>
          <p:cNvPr id="158" name="Freeform 19"/>
          <p:cNvSpPr>
            <a:spLocks noEditPoints="1"/>
          </p:cNvSpPr>
          <p:nvPr/>
        </p:nvSpPr>
        <p:spPr bwMode="auto">
          <a:xfrm>
            <a:off x="3776720" y="3470514"/>
            <a:ext cx="307242" cy="285943"/>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dirty="0">
              <a:solidFill>
                <a:sysClr val="windowText" lastClr="000000"/>
              </a:solidFill>
              <a:latin typeface="Segoe UI Semilight"/>
            </a:endParaRPr>
          </a:p>
        </p:txBody>
      </p:sp>
      <p:sp>
        <p:nvSpPr>
          <p:cNvPr id="40" name="TextBox 39"/>
          <p:cNvSpPr txBox="1"/>
          <p:nvPr/>
        </p:nvSpPr>
        <p:spPr>
          <a:xfrm>
            <a:off x="3474504" y="5795955"/>
            <a:ext cx="896425" cy="259799"/>
          </a:xfrm>
          <a:prstGeom prst="rect">
            <a:avLst/>
          </a:prstGeom>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Data</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access</a:t>
            </a:r>
          </a:p>
        </p:txBody>
      </p:sp>
      <p:sp>
        <p:nvSpPr>
          <p:cNvPr id="159" name="Freeform 30"/>
          <p:cNvSpPr>
            <a:spLocks noEditPoints="1"/>
          </p:cNvSpPr>
          <p:nvPr/>
        </p:nvSpPr>
        <p:spPr bwMode="auto">
          <a:xfrm>
            <a:off x="3786604" y="5470110"/>
            <a:ext cx="272225" cy="300453"/>
          </a:xfrm>
          <a:custGeom>
            <a:avLst/>
            <a:gdLst>
              <a:gd name="T0" fmla="*/ 51 w 102"/>
              <a:gd name="T1" fmla="*/ 8 h 112"/>
              <a:gd name="T2" fmla="*/ 6 w 102"/>
              <a:gd name="T3" fmla="*/ 27 h 112"/>
              <a:gd name="T4" fmla="*/ 0 w 102"/>
              <a:gd name="T5" fmla="*/ 21 h 112"/>
              <a:gd name="T6" fmla="*/ 51 w 102"/>
              <a:gd name="T7" fmla="*/ 0 h 112"/>
              <a:gd name="T8" fmla="*/ 102 w 102"/>
              <a:gd name="T9" fmla="*/ 21 h 112"/>
              <a:gd name="T10" fmla="*/ 96 w 102"/>
              <a:gd name="T11" fmla="*/ 27 h 112"/>
              <a:gd name="T12" fmla="*/ 51 w 102"/>
              <a:gd name="T13" fmla="*/ 8 h 112"/>
              <a:gd name="T14" fmla="*/ 51 w 102"/>
              <a:gd name="T15" fmla="*/ 28 h 112"/>
              <a:gd name="T16" fmla="*/ 82 w 102"/>
              <a:gd name="T17" fmla="*/ 41 h 112"/>
              <a:gd name="T18" fmla="*/ 88 w 102"/>
              <a:gd name="T19" fmla="*/ 35 h 112"/>
              <a:gd name="T20" fmla="*/ 51 w 102"/>
              <a:gd name="T21" fmla="*/ 20 h 112"/>
              <a:gd name="T22" fmla="*/ 14 w 102"/>
              <a:gd name="T23" fmla="*/ 35 h 112"/>
              <a:gd name="T24" fmla="*/ 20 w 102"/>
              <a:gd name="T25" fmla="*/ 41 h 112"/>
              <a:gd name="T26" fmla="*/ 51 w 102"/>
              <a:gd name="T27" fmla="*/ 28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67 w 102"/>
              <a:gd name="T43" fmla="*/ 76 h 112"/>
              <a:gd name="T44" fmla="*/ 55 w 102"/>
              <a:gd name="T45" fmla="*/ 91 h 112"/>
              <a:gd name="T46" fmla="*/ 55 w 102"/>
              <a:gd name="T47" fmla="*/ 112 h 112"/>
              <a:gd name="T48" fmla="*/ 47 w 102"/>
              <a:gd name="T49" fmla="*/ 112 h 112"/>
              <a:gd name="T50" fmla="*/ 47 w 102"/>
              <a:gd name="T51" fmla="*/ 91 h 112"/>
              <a:gd name="T52" fmla="*/ 35 w 102"/>
              <a:gd name="T53" fmla="*/ 76 h 112"/>
              <a:gd name="T54" fmla="*/ 51 w 102"/>
              <a:gd name="T55" fmla="*/ 60 h 112"/>
              <a:gd name="T56" fmla="*/ 67 w 102"/>
              <a:gd name="T57" fmla="*/ 76 h 112"/>
              <a:gd name="T58" fmla="*/ 59 w 102"/>
              <a:gd name="T59" fmla="*/ 76 h 112"/>
              <a:gd name="T60" fmla="*/ 51 w 102"/>
              <a:gd name="T61" fmla="*/ 68 h 112"/>
              <a:gd name="T62" fmla="*/ 43 w 102"/>
              <a:gd name="T63" fmla="*/ 76 h 112"/>
              <a:gd name="T64" fmla="*/ 51 w 102"/>
              <a:gd name="T65" fmla="*/ 84 h 112"/>
              <a:gd name="T66" fmla="*/ 59 w 102"/>
              <a:gd name="T67" fmla="*/ 7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51" y="8"/>
                </a:moveTo>
                <a:cubicBezTo>
                  <a:pt x="34" y="8"/>
                  <a:pt x="18" y="15"/>
                  <a:pt x="6" y="27"/>
                </a:cubicBezTo>
                <a:cubicBezTo>
                  <a:pt x="0" y="21"/>
                  <a:pt x="0" y="21"/>
                  <a:pt x="0" y="21"/>
                </a:cubicBezTo>
                <a:cubicBezTo>
                  <a:pt x="14" y="8"/>
                  <a:pt x="32" y="0"/>
                  <a:pt x="51" y="0"/>
                </a:cubicBezTo>
                <a:cubicBezTo>
                  <a:pt x="70" y="0"/>
                  <a:pt x="88" y="8"/>
                  <a:pt x="102" y="21"/>
                </a:cubicBezTo>
                <a:cubicBezTo>
                  <a:pt x="96" y="27"/>
                  <a:pt x="96" y="27"/>
                  <a:pt x="96" y="27"/>
                </a:cubicBezTo>
                <a:cubicBezTo>
                  <a:pt x="84" y="15"/>
                  <a:pt x="68" y="8"/>
                  <a:pt x="51" y="8"/>
                </a:cubicBezTo>
                <a:close/>
                <a:moveTo>
                  <a:pt x="51" y="28"/>
                </a:moveTo>
                <a:cubicBezTo>
                  <a:pt x="63" y="28"/>
                  <a:pt x="74" y="33"/>
                  <a:pt x="82" y="41"/>
                </a:cubicBezTo>
                <a:cubicBezTo>
                  <a:pt x="88" y="35"/>
                  <a:pt x="88" y="35"/>
                  <a:pt x="88" y="35"/>
                </a:cubicBezTo>
                <a:cubicBezTo>
                  <a:pt x="78" y="25"/>
                  <a:pt x="65" y="20"/>
                  <a:pt x="51" y="20"/>
                </a:cubicBezTo>
                <a:cubicBezTo>
                  <a:pt x="37" y="20"/>
                  <a:pt x="24" y="25"/>
                  <a:pt x="14" y="35"/>
                </a:cubicBezTo>
                <a:cubicBezTo>
                  <a:pt x="20" y="41"/>
                  <a:pt x="20" y="41"/>
                  <a:pt x="20" y="41"/>
                </a:cubicBezTo>
                <a:cubicBezTo>
                  <a:pt x="28" y="33"/>
                  <a:pt x="39" y="28"/>
                  <a:pt x="51" y="28"/>
                </a:cubicBezTo>
                <a:close/>
                <a:moveTo>
                  <a:pt x="73" y="49"/>
                </a:moveTo>
                <a:cubicBezTo>
                  <a:pt x="67" y="43"/>
                  <a:pt x="59"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67" y="76"/>
                </a:moveTo>
                <a:cubicBezTo>
                  <a:pt x="67" y="83"/>
                  <a:pt x="62" y="90"/>
                  <a:pt x="55" y="91"/>
                </a:cubicBezTo>
                <a:cubicBezTo>
                  <a:pt x="55" y="112"/>
                  <a:pt x="55" y="112"/>
                  <a:pt x="55" y="112"/>
                </a:cubicBezTo>
                <a:cubicBezTo>
                  <a:pt x="47" y="112"/>
                  <a:pt x="47" y="112"/>
                  <a:pt x="47" y="112"/>
                </a:cubicBezTo>
                <a:cubicBezTo>
                  <a:pt x="47" y="91"/>
                  <a:pt x="47" y="91"/>
                  <a:pt x="47" y="91"/>
                </a:cubicBezTo>
                <a:cubicBezTo>
                  <a:pt x="40" y="90"/>
                  <a:pt x="35" y="83"/>
                  <a:pt x="35" y="76"/>
                </a:cubicBezTo>
                <a:cubicBezTo>
                  <a:pt x="35" y="67"/>
                  <a:pt x="42" y="60"/>
                  <a:pt x="51" y="60"/>
                </a:cubicBezTo>
                <a:cubicBezTo>
                  <a:pt x="60" y="60"/>
                  <a:pt x="67" y="67"/>
                  <a:pt x="67" y="76"/>
                </a:cubicBezTo>
                <a:close/>
                <a:moveTo>
                  <a:pt x="59" y="76"/>
                </a:moveTo>
                <a:cubicBezTo>
                  <a:pt x="59" y="72"/>
                  <a:pt x="55" y="68"/>
                  <a:pt x="51" y="68"/>
                </a:cubicBezTo>
                <a:cubicBezTo>
                  <a:pt x="47" y="68"/>
                  <a:pt x="43" y="72"/>
                  <a:pt x="43" y="76"/>
                </a:cubicBezTo>
                <a:cubicBezTo>
                  <a:pt x="43" y="80"/>
                  <a:pt x="47" y="84"/>
                  <a:pt x="51" y="84"/>
                </a:cubicBezTo>
                <a:cubicBezTo>
                  <a:pt x="55" y="84"/>
                  <a:pt x="59" y="80"/>
                  <a:pt x="59" y="76"/>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9" name="TextBox 38"/>
          <p:cNvSpPr txBox="1"/>
          <p:nvPr/>
        </p:nvSpPr>
        <p:spPr>
          <a:xfrm>
            <a:off x="3478239" y="4783653"/>
            <a:ext cx="896425" cy="259799"/>
          </a:xfrm>
          <a:prstGeom prst="rect">
            <a:avLst/>
          </a:prstGeom>
          <a:noFill/>
        </p:spPr>
        <p:txBody>
          <a:bodyPr wrap="none" rtlCol="0">
            <a:noAutofit/>
          </a:bodyPr>
          <a:lstStyle>
            <a:defPPr>
              <a:defRPr lang="en-US"/>
            </a:defPPr>
            <a:lvl1pPr marR="0" lvl="0" indent="0" algn="ctr" defTabSz="931881" fontAlgn="auto">
              <a:lnSpc>
                <a:spcPct val="100000"/>
              </a:lnSpc>
              <a:spcBef>
                <a:spcPts val="0"/>
              </a:spcBef>
              <a:spcAft>
                <a:spcPts val="0"/>
              </a:spcAft>
              <a:buClrTx/>
              <a:buSzTx/>
              <a:buFontTx/>
              <a:buNone/>
              <a:tabLst/>
              <a:defRPr kumimoji="0" sz="1100" b="0"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defTabSz="913523"/>
            <a:r>
              <a:rPr lang="en-US" sz="882" b="1" dirty="0">
                <a:gradFill>
                  <a:gsLst>
                    <a:gs pos="11504">
                      <a:srgbClr val="FFFFFF">
                        <a:lumMod val="50000"/>
                      </a:srgbClr>
                    </a:gs>
                    <a:gs pos="37168">
                      <a:srgbClr val="FFFFFF">
                        <a:lumMod val="50000"/>
                      </a:srgbClr>
                    </a:gs>
                  </a:gsLst>
                  <a:lin ang="5400000" scaled="0"/>
                </a:gradFill>
              </a:rPr>
              <a:t>Business</a:t>
            </a:r>
            <a:br>
              <a:rPr lang="en-US" sz="882" b="1" dirty="0">
                <a:gradFill>
                  <a:gsLst>
                    <a:gs pos="11504">
                      <a:srgbClr val="FFFFFF">
                        <a:lumMod val="50000"/>
                      </a:srgbClr>
                    </a:gs>
                    <a:gs pos="37168">
                      <a:srgbClr val="FFFFFF">
                        <a:lumMod val="50000"/>
                      </a:srgbClr>
                    </a:gs>
                  </a:gsLst>
                  <a:lin ang="5400000" scaled="0"/>
                </a:gradFill>
              </a:rPr>
            </a:br>
            <a:r>
              <a:rPr lang="en-US" sz="882" b="1" dirty="0">
                <a:gradFill>
                  <a:gsLst>
                    <a:gs pos="11504">
                      <a:srgbClr val="FFFFFF">
                        <a:lumMod val="50000"/>
                      </a:srgbClr>
                    </a:gs>
                    <a:gs pos="37168">
                      <a:srgbClr val="FFFFFF">
                        <a:lumMod val="50000"/>
                      </a:srgbClr>
                    </a:gs>
                  </a:gsLst>
                  <a:lin ang="5400000" scaled="0"/>
                </a:gradFill>
              </a:rPr>
              <a:t>logic</a:t>
            </a:r>
          </a:p>
        </p:txBody>
      </p:sp>
      <p:sp>
        <p:nvSpPr>
          <p:cNvPr id="160" name="Freeform 67"/>
          <p:cNvSpPr>
            <a:spLocks noEditPoints="1"/>
          </p:cNvSpPr>
          <p:nvPr/>
        </p:nvSpPr>
        <p:spPr bwMode="auto">
          <a:xfrm>
            <a:off x="3792671" y="4461619"/>
            <a:ext cx="267561" cy="26624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sp>
        <p:nvSpPr>
          <p:cNvPr id="37" name="TextBox 36"/>
          <p:cNvSpPr txBox="1"/>
          <p:nvPr/>
        </p:nvSpPr>
        <p:spPr>
          <a:xfrm>
            <a:off x="3470741" y="2826973"/>
            <a:ext cx="896425" cy="256467"/>
          </a:xfrm>
          <a:prstGeom prst="rect">
            <a:avLst/>
          </a:prstGeom>
          <a:noFill/>
        </p:spPr>
        <p:txBody>
          <a:bodyPr wrap="none" rtlCol="0">
            <a:noAutofit/>
          </a:bodyPr>
          <a:lstStyle>
            <a:defPPr>
              <a:defRPr lang="en-US"/>
            </a:defPPr>
            <a:lvl1pPr marR="0" lvl="0" indent="0" defTabSz="931881" fontAlgn="auto">
              <a:lnSpc>
                <a:spcPct val="100000"/>
              </a:lnSpc>
              <a:spcBef>
                <a:spcPts val="0"/>
              </a:spcBef>
              <a:spcAft>
                <a:spcPts val="0"/>
              </a:spcAft>
              <a:buClrTx/>
              <a:buSzTx/>
              <a:buFontTx/>
              <a:buNone/>
              <a:tabLst/>
              <a:defRPr kumimoji="0" sz="1100" b="1" i="0" u="none" strike="noStrike" kern="0" cap="none" spc="0" normalizeH="0" baseline="0">
                <a:ln>
                  <a:noFill/>
                </a:ln>
                <a:gradFill>
                  <a:gsLst>
                    <a:gs pos="11504">
                      <a:schemeClr val="tx1"/>
                    </a:gs>
                    <a:gs pos="37168">
                      <a:schemeClr val="tx1"/>
                    </a:gs>
                  </a:gsLst>
                  <a:lin ang="5400000" scaled="0"/>
                </a:gradFill>
                <a:effectLst/>
                <a:uLnTx/>
                <a:uFillTx/>
                <a:latin typeface="Segoe UI"/>
              </a:defRPr>
            </a:lvl1pPr>
          </a:lstStyle>
          <a:p>
            <a:pPr algn="ctr" defTabSz="913523"/>
            <a:r>
              <a:rPr lang="en-US" sz="882" dirty="0">
                <a:gradFill>
                  <a:gsLst>
                    <a:gs pos="11504">
                      <a:srgbClr val="FFFFFF">
                        <a:lumMod val="50000"/>
                      </a:srgbClr>
                    </a:gs>
                    <a:gs pos="37168">
                      <a:srgbClr val="FFFFFF">
                        <a:lumMod val="50000"/>
                      </a:srgbClr>
                    </a:gs>
                  </a:gsLst>
                  <a:lin ang="5400000" scaled="0"/>
                </a:gradFill>
              </a:rPr>
              <a:t>Queries</a:t>
            </a:r>
          </a:p>
        </p:txBody>
      </p:sp>
      <p:sp>
        <p:nvSpPr>
          <p:cNvPr id="161" name="Freeform 67"/>
          <p:cNvSpPr>
            <a:spLocks noEditPoints="1"/>
          </p:cNvSpPr>
          <p:nvPr/>
        </p:nvSpPr>
        <p:spPr bwMode="auto">
          <a:xfrm>
            <a:off x="3772870" y="2510408"/>
            <a:ext cx="292169" cy="290734"/>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Semilight"/>
            </a:endParaRPr>
          </a:p>
        </p:txBody>
      </p:sp>
      <p:grpSp>
        <p:nvGrpSpPr>
          <p:cNvPr id="35" name="Group 34"/>
          <p:cNvGrpSpPr/>
          <p:nvPr/>
        </p:nvGrpSpPr>
        <p:grpSpPr>
          <a:xfrm>
            <a:off x="1122313" y="1860257"/>
            <a:ext cx="2292781" cy="4357600"/>
            <a:chOff x="1144817" y="1897062"/>
            <a:chExt cx="2338756" cy="4444979"/>
          </a:xfrm>
        </p:grpSpPr>
        <p:grpSp>
          <p:nvGrpSpPr>
            <p:cNvPr id="47" name="Group 46"/>
            <p:cNvGrpSpPr>
              <a:grpSpLocks/>
            </p:cNvGrpSpPr>
            <p:nvPr/>
          </p:nvGrpSpPr>
          <p:grpSpPr>
            <a:xfrm>
              <a:off x="2882177" y="3243607"/>
              <a:ext cx="601396" cy="2213574"/>
              <a:chOff x="2814452" y="3508016"/>
              <a:chExt cx="1130321" cy="1626177"/>
            </a:xfrm>
          </p:grpSpPr>
          <p:cxnSp>
            <p:nvCxnSpPr>
              <p:cNvPr id="15" name="Straight Connector 14"/>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10800000" flipH="1">
                <a:off x="3398509" y="432110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210974" y="1897062"/>
              <a:ext cx="1029449" cy="261610"/>
            </a:xfrm>
            <a:prstGeom prst="rect">
              <a:avLst/>
            </a:prstGeom>
            <a:noFill/>
          </p:spPr>
          <p:txBody>
            <a:bodyPr wrap="square" rtlCol="0">
              <a:spAutoFit/>
            </a:bodyPr>
            <a:lstStyle/>
            <a:p>
              <a:pPr defTabSz="913523"/>
              <a:r>
                <a:rPr lang="en-US" sz="1078" b="1" kern="0" dirty="0">
                  <a:gradFill>
                    <a:gsLst>
                      <a:gs pos="11504">
                        <a:srgbClr val="353535"/>
                      </a:gs>
                      <a:gs pos="37168">
                        <a:srgbClr val="353535"/>
                      </a:gs>
                    </a:gsLst>
                    <a:lin ang="5400000" scaled="0"/>
                  </a:gradFill>
                  <a:latin typeface="Segoe UI"/>
                </a:rPr>
                <a:t>Data sources</a:t>
              </a:r>
            </a:p>
          </p:txBody>
        </p:sp>
        <p:grpSp>
          <p:nvGrpSpPr>
            <p:cNvPr id="75" name="Group 74"/>
            <p:cNvGrpSpPr/>
            <p:nvPr/>
          </p:nvGrpSpPr>
          <p:grpSpPr>
            <a:xfrm>
              <a:off x="1145603" y="2337595"/>
              <a:ext cx="1762631" cy="1482898"/>
              <a:chOff x="-2528604" y="2530410"/>
              <a:chExt cx="1762631" cy="1482898"/>
            </a:xfrm>
          </p:grpSpPr>
          <p:sp>
            <p:nvSpPr>
              <p:cNvPr id="76" name="Rectangle 75"/>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77" name="Group 76"/>
              <p:cNvGrpSpPr/>
              <p:nvPr/>
            </p:nvGrpSpPr>
            <p:grpSpPr>
              <a:xfrm>
                <a:off x="-2417028" y="2623672"/>
                <a:ext cx="1526214" cy="1343469"/>
                <a:chOff x="757437" y="2519885"/>
                <a:chExt cx="1987953" cy="1749921"/>
              </a:xfrm>
              <a:solidFill>
                <a:schemeClr val="bg1">
                  <a:alpha val="15000"/>
                </a:schemeClr>
              </a:solidFill>
            </p:grpSpPr>
            <p:sp>
              <p:nvSpPr>
                <p:cNvPr id="79"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0" name="Oval 79"/>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1" name="Oval 80"/>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2" name="Oval 81"/>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3" name="Oval 82"/>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4" name="Oval 83"/>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5"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86" name="Oval 85"/>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7"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88"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89"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90"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91"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78" name="Rectangle 77"/>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2" name="Group 91"/>
            <p:cNvGrpSpPr/>
            <p:nvPr/>
          </p:nvGrpSpPr>
          <p:grpSpPr>
            <a:xfrm>
              <a:off x="1144817" y="4859143"/>
              <a:ext cx="1762631" cy="1482898"/>
              <a:chOff x="1003776" y="4859143"/>
              <a:chExt cx="1762631" cy="1482898"/>
            </a:xfrm>
          </p:grpSpPr>
          <p:sp>
            <p:nvSpPr>
              <p:cNvPr id="93" name="Rectangle 92"/>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94" name="Group 93"/>
              <p:cNvGrpSpPr/>
              <p:nvPr/>
            </p:nvGrpSpPr>
            <p:grpSpPr>
              <a:xfrm>
                <a:off x="1115352" y="4952406"/>
                <a:ext cx="1526214" cy="1343469"/>
                <a:chOff x="757437" y="2519885"/>
                <a:chExt cx="1987953" cy="1749921"/>
              </a:xfrm>
              <a:solidFill>
                <a:schemeClr val="bg1">
                  <a:alpha val="15000"/>
                </a:schemeClr>
              </a:solidFill>
            </p:grpSpPr>
            <p:sp>
              <p:nvSpPr>
                <p:cNvPr id="96"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7" name="Oval 96"/>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8" name="Oval 97"/>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99" name="Oval 98"/>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0" name="Oval 99"/>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1" name="Oval 100"/>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2"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03" name="Oval 102"/>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4"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05"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6"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07"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08"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95" name="Rectangle 94"/>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9" name="Group 8"/>
            <p:cNvGrpSpPr/>
            <p:nvPr/>
          </p:nvGrpSpPr>
          <p:grpSpPr>
            <a:xfrm>
              <a:off x="1207787" y="4031774"/>
              <a:ext cx="1972556" cy="565195"/>
              <a:chOff x="749087" y="4031774"/>
              <a:chExt cx="1972556" cy="565195"/>
            </a:xfrm>
          </p:grpSpPr>
          <p:sp>
            <p:nvSpPr>
              <p:cNvPr id="68" name="TextBox 67"/>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74" name="TextBox 73"/>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09" name="Straight Connector 108"/>
              <p:cNvCxnSpPr/>
              <p:nvPr/>
            </p:nvCxnSpPr>
            <p:spPr>
              <a:xfrm>
                <a:off x="801403" y="4333994"/>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4" name="Group 33"/>
          <p:cNvGrpSpPr/>
          <p:nvPr/>
        </p:nvGrpSpPr>
        <p:grpSpPr>
          <a:xfrm>
            <a:off x="8785274" y="1860257"/>
            <a:ext cx="2292781" cy="4357600"/>
            <a:chOff x="9411601" y="1897062"/>
            <a:chExt cx="2338756" cy="4444979"/>
          </a:xfrm>
        </p:grpSpPr>
        <p:grpSp>
          <p:nvGrpSpPr>
            <p:cNvPr id="8" name="Group 7"/>
            <p:cNvGrpSpPr/>
            <p:nvPr/>
          </p:nvGrpSpPr>
          <p:grpSpPr>
            <a:xfrm>
              <a:off x="9987726" y="2337595"/>
              <a:ext cx="1762631" cy="4004446"/>
              <a:chOff x="11735781" y="2337595"/>
              <a:chExt cx="1762631" cy="4004446"/>
            </a:xfrm>
          </p:grpSpPr>
          <p:grpSp>
            <p:nvGrpSpPr>
              <p:cNvPr id="110" name="Group 109"/>
              <p:cNvGrpSpPr/>
              <p:nvPr/>
            </p:nvGrpSpPr>
            <p:grpSpPr>
              <a:xfrm>
                <a:off x="11735781" y="2337595"/>
                <a:ext cx="1762631" cy="1482898"/>
                <a:chOff x="-2528604" y="2530410"/>
                <a:chExt cx="1762631" cy="1482898"/>
              </a:xfrm>
            </p:grpSpPr>
            <p:sp>
              <p:nvSpPr>
                <p:cNvPr id="111" name="Rectangle 110"/>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2" name="Group 111"/>
                <p:cNvGrpSpPr/>
                <p:nvPr/>
              </p:nvGrpSpPr>
              <p:grpSpPr>
                <a:xfrm>
                  <a:off x="-2417028" y="2623672"/>
                  <a:ext cx="1526214" cy="1343469"/>
                  <a:chOff x="757437" y="2519885"/>
                  <a:chExt cx="1987953" cy="1749921"/>
                </a:xfrm>
                <a:solidFill>
                  <a:schemeClr val="bg1">
                    <a:alpha val="15000"/>
                  </a:schemeClr>
                </a:solidFill>
              </p:grpSpPr>
              <p:sp>
                <p:nvSpPr>
                  <p:cNvPr id="114"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Oval 118"/>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0"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1" name="Oval 120"/>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3"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5"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6"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3" name="Rectangle 112"/>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nvGrpSpPr>
              <p:cNvPr id="127" name="Group 126"/>
              <p:cNvGrpSpPr/>
              <p:nvPr/>
            </p:nvGrpSpPr>
            <p:grpSpPr>
              <a:xfrm>
                <a:off x="11735781" y="4859143"/>
                <a:ext cx="1762631" cy="1482898"/>
                <a:chOff x="1003776" y="4859143"/>
                <a:chExt cx="1762631" cy="1482898"/>
              </a:xfrm>
            </p:grpSpPr>
            <p:sp>
              <p:nvSpPr>
                <p:cNvPr id="128" name="Rectangle 127"/>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9" name="Group 128"/>
                <p:cNvGrpSpPr/>
                <p:nvPr/>
              </p:nvGrpSpPr>
              <p:grpSpPr>
                <a:xfrm>
                  <a:off x="1115352" y="4952406"/>
                  <a:ext cx="1526214" cy="1343469"/>
                  <a:chOff x="757437" y="2519885"/>
                  <a:chExt cx="1987953" cy="1749921"/>
                </a:xfrm>
                <a:solidFill>
                  <a:schemeClr val="bg1">
                    <a:alpha val="15000"/>
                  </a:schemeClr>
                </a:solidFill>
              </p:grpSpPr>
              <p:sp>
                <p:nvSpPr>
                  <p:cNvPr id="131"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Oval 135"/>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7"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8" name="Oval 137"/>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40"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2"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3"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30" name="Rectangle 129"/>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TOOLS</a:t>
                  </a:r>
                </a:p>
              </p:txBody>
            </p:sp>
          </p:grpSp>
        </p:grpSp>
        <p:sp>
          <p:nvSpPr>
            <p:cNvPr id="144" name="Rectangle 143"/>
            <p:cNvSpPr/>
            <p:nvPr/>
          </p:nvSpPr>
          <p:spPr>
            <a:xfrm>
              <a:off x="10278274" y="1897062"/>
              <a:ext cx="1407758" cy="261610"/>
            </a:xfrm>
            <a:prstGeom prst="rect">
              <a:avLst/>
            </a:prstGeom>
            <a:noFill/>
          </p:spPr>
          <p:txBody>
            <a:bodyPr wrap="square" rtlCol="0">
              <a:spAutoFit/>
            </a:bodyPr>
            <a:lstStyle/>
            <a:p>
              <a:pPr algn="r" defTabSz="913523"/>
              <a:r>
                <a:rPr lang="en-US" sz="1078" b="1" kern="0" dirty="0">
                  <a:gradFill>
                    <a:gsLst>
                      <a:gs pos="11504">
                        <a:srgbClr val="353535"/>
                      </a:gs>
                      <a:gs pos="37168">
                        <a:srgbClr val="353535"/>
                      </a:gs>
                    </a:gsLst>
                    <a:lin ang="5400000" scaled="0"/>
                  </a:gradFill>
                  <a:latin typeface="Segoe UI"/>
                </a:rPr>
                <a:t>Client tools</a:t>
              </a:r>
            </a:p>
          </p:txBody>
        </p:sp>
        <p:grpSp>
          <p:nvGrpSpPr>
            <p:cNvPr id="146" name="Group 145"/>
            <p:cNvGrpSpPr>
              <a:grpSpLocks/>
            </p:cNvGrpSpPr>
            <p:nvPr/>
          </p:nvGrpSpPr>
          <p:grpSpPr>
            <a:xfrm flipH="1">
              <a:off x="9411601" y="3243607"/>
              <a:ext cx="601396" cy="2213574"/>
              <a:chOff x="2814452" y="3508016"/>
              <a:chExt cx="1130321" cy="1626177"/>
            </a:xfrm>
          </p:grpSpPr>
          <p:cxnSp>
            <p:nvCxnSpPr>
              <p:cNvPr id="147" name="Straight Connector 146"/>
              <p:cNvCxnSpPr/>
              <p:nvPr/>
            </p:nvCxnSpPr>
            <p:spPr>
              <a:xfrm flipH="1">
                <a:off x="3371480" y="3508016"/>
                <a:ext cx="0" cy="1626177"/>
              </a:xfrm>
              <a:prstGeom prst="line">
                <a:avLst/>
              </a:prstGeom>
              <a:ln w="38100">
                <a:solidFill>
                  <a:srgbClr val="0017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a:off x="2814452" y="3522158"/>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2814454" y="5119480"/>
                <a:ext cx="546266"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rot="10800000" flipH="1">
                <a:off x="3398509" y="4313515"/>
                <a:ext cx="546264" cy="0"/>
              </a:xfrm>
              <a:prstGeom prst="straightConnector1">
                <a:avLst/>
              </a:prstGeom>
              <a:ln w="38100">
                <a:solidFill>
                  <a:srgbClr val="00175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9740201" y="4031774"/>
              <a:ext cx="1945831" cy="565195"/>
              <a:chOff x="10966981" y="4031774"/>
              <a:chExt cx="1945831" cy="565195"/>
            </a:xfrm>
          </p:grpSpPr>
          <p:sp>
            <p:nvSpPr>
              <p:cNvPr id="152" name="TextBox 151"/>
              <p:cNvSpPr txBox="1"/>
              <p:nvPr/>
            </p:nvSpPr>
            <p:spPr>
              <a:xfrm>
                <a:off x="11868469" y="4031774"/>
                <a:ext cx="104434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Cloud</a:t>
                </a:r>
              </a:p>
            </p:txBody>
          </p:sp>
          <p:sp>
            <p:nvSpPr>
              <p:cNvPr id="153" name="TextBox 152"/>
              <p:cNvSpPr txBox="1"/>
              <p:nvPr/>
            </p:nvSpPr>
            <p:spPr>
              <a:xfrm>
                <a:off x="11718889" y="4335359"/>
                <a:ext cx="1193923" cy="261610"/>
              </a:xfrm>
              <a:prstGeom prst="rect">
                <a:avLst/>
              </a:prstGeom>
              <a:noFill/>
            </p:spPr>
            <p:txBody>
              <a:bodyPr wrap="square" rtlCol="0">
                <a:spAutoFit/>
              </a:bodyPr>
              <a:lstStyle/>
              <a:p>
                <a:pPr algn="r" defTabSz="913523">
                  <a:defRPr/>
                </a:pPr>
                <a:r>
                  <a:rPr lang="en-US" sz="1078" b="1" kern="0" dirty="0">
                    <a:gradFill>
                      <a:gsLst>
                        <a:gs pos="11504">
                          <a:srgbClr val="353535"/>
                        </a:gs>
                        <a:gs pos="37168">
                          <a:srgbClr val="353535"/>
                        </a:gs>
                      </a:gsLst>
                      <a:lin ang="5400000" scaled="0"/>
                    </a:gradFill>
                    <a:latin typeface="Segoe UI"/>
                  </a:rPr>
                  <a:t>On-premises</a:t>
                </a:r>
              </a:p>
            </p:txBody>
          </p:sp>
          <p:cxnSp>
            <p:nvCxnSpPr>
              <p:cNvPr id="154" name="Straight Connector 153"/>
              <p:cNvCxnSpPr/>
              <p:nvPr/>
            </p:nvCxnSpPr>
            <p:spPr>
              <a:xfrm>
                <a:off x="10966981" y="4334531"/>
                <a:ext cx="1920240" cy="0"/>
              </a:xfrm>
              <a:prstGeom prst="line">
                <a:avLst/>
              </a:prstGeom>
              <a:ln w="12700">
                <a:solidFill>
                  <a:schemeClr val="tx1"/>
                </a:solidFill>
                <a:prstDash val="dash"/>
                <a:headEnd type="none"/>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p:nvGrpSpPr>
        <p:grpSpPr>
          <a:xfrm>
            <a:off x="11068441" y="291652"/>
            <a:ext cx="888706" cy="888706"/>
            <a:chOff x="3440105" y="2254735"/>
            <a:chExt cx="1412358" cy="1412358"/>
          </a:xfrm>
        </p:grpSpPr>
        <p:sp>
          <p:nvSpPr>
            <p:cNvPr id="169" name="Oval 168"/>
            <p:cNvSpPr/>
            <p:nvPr/>
          </p:nvSpPr>
          <p:spPr bwMode="auto">
            <a:xfrm>
              <a:off x="3440105"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0" name="Group 169"/>
            <p:cNvGrpSpPr/>
            <p:nvPr/>
          </p:nvGrpSpPr>
          <p:grpSpPr>
            <a:xfrm>
              <a:off x="3799868" y="2657362"/>
              <a:ext cx="692832" cy="607105"/>
              <a:chOff x="1227214" y="2470104"/>
              <a:chExt cx="1040050" cy="911361"/>
            </a:xfrm>
          </p:grpSpPr>
          <p:sp>
            <p:nvSpPr>
              <p:cNvPr id="171"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ysClr val="windowText" lastClr="000000"/>
                  </a:solidFill>
                  <a:latin typeface="Segoe UI"/>
                </a:endParaRPr>
              </a:p>
            </p:txBody>
          </p:sp>
          <p:grpSp>
            <p:nvGrpSpPr>
              <p:cNvPr id="172" name="Group 171"/>
              <p:cNvGrpSpPr/>
              <p:nvPr/>
            </p:nvGrpSpPr>
            <p:grpSpPr>
              <a:xfrm>
                <a:off x="1227214" y="2929560"/>
                <a:ext cx="451905" cy="451905"/>
                <a:chOff x="1208013" y="2916080"/>
                <a:chExt cx="493121" cy="493121"/>
              </a:xfrm>
            </p:grpSpPr>
            <p:sp>
              <p:nvSpPr>
                <p:cNvPr id="173" name="Oval 172"/>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74" name="Freeform: Shape 173"/>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2542800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8993" y="1588330"/>
            <a:ext cx="8204857" cy="4853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sp>
        <p:nvSpPr>
          <p:cNvPr id="2" name="Title 1"/>
          <p:cNvSpPr>
            <a:spLocks noGrp="1"/>
          </p:cNvSpPr>
          <p:nvPr>
            <p:ph type="title"/>
          </p:nvPr>
        </p:nvSpPr>
        <p:spPr/>
        <p:txBody>
          <a:bodyPr/>
          <a:lstStyle/>
          <a:p>
            <a:r>
              <a:rPr lang="en-US" dirty="0"/>
              <a:t>Platform-as-a-service solution</a:t>
            </a:r>
            <a:br>
              <a:rPr lang="en-US" dirty="0"/>
            </a:br>
            <a:r>
              <a:rPr lang="en-US" sz="3137" dirty="0">
                <a:gradFill>
                  <a:gsLst>
                    <a:gs pos="1250">
                      <a:schemeClr val="tx2"/>
                    </a:gs>
                    <a:gs pos="100000">
                      <a:schemeClr val="tx2"/>
                    </a:gs>
                  </a:gsLst>
                  <a:lin ang="5400000" scaled="0"/>
                </a:gradFill>
              </a:rPr>
              <a:t>All the benefits of the cloud in your analytics engine</a:t>
            </a:r>
            <a:endParaRPr lang="en-US" dirty="0">
              <a:gradFill>
                <a:gsLst>
                  <a:gs pos="1250">
                    <a:schemeClr val="tx2"/>
                  </a:gs>
                  <a:gs pos="100000">
                    <a:schemeClr val="tx2"/>
                  </a:gs>
                </a:gsLst>
                <a:lin ang="5400000" scaled="0"/>
              </a:gradFill>
            </a:endParaRPr>
          </a:p>
        </p:txBody>
      </p:sp>
      <p:grpSp>
        <p:nvGrpSpPr>
          <p:cNvPr id="11" name="Group 10"/>
          <p:cNvGrpSpPr/>
          <p:nvPr/>
        </p:nvGrpSpPr>
        <p:grpSpPr>
          <a:xfrm>
            <a:off x="448213" y="1725793"/>
            <a:ext cx="8023312" cy="4616589"/>
            <a:chOff x="235481" y="2711143"/>
            <a:chExt cx="6863263" cy="6875611"/>
          </a:xfrm>
          <a:solidFill>
            <a:schemeClr val="accent6"/>
          </a:solidFill>
        </p:grpSpPr>
        <p:sp>
          <p:nvSpPr>
            <p:cNvPr id="7" name="Rectangle 6"/>
            <p:cNvSpPr/>
            <p:nvPr/>
          </p:nvSpPr>
          <p:spPr>
            <a:xfrm>
              <a:off x="235481"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et started quickly</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pin up a new server in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seconds without managing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he infrastructure</a:t>
              </a:r>
            </a:p>
          </p:txBody>
        </p:sp>
        <p:sp>
          <p:nvSpPr>
            <p:cNvPr id="8" name="Rectangle 7"/>
            <p:cNvSpPr/>
            <p:nvPr/>
          </p:nvSpPr>
          <p:spPr>
            <a:xfrm>
              <a:off x="3686416" y="2711143"/>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t"/>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de secured access</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From virtually anywhere</a:t>
              </a:r>
            </a:p>
          </p:txBody>
        </p:sp>
        <p:sp>
          <p:nvSpPr>
            <p:cNvPr id="9" name="Rectangle 8"/>
            <p:cNvSpPr/>
            <p:nvPr/>
          </p:nvSpPr>
          <p:spPr>
            <a:xfrm>
              <a:off x="235481" y="6182326"/>
              <a:ext cx="3412328" cy="340442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ccess data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when you need it</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99.9% availability</a:t>
              </a:r>
            </a:p>
          </p:txBody>
        </p:sp>
        <p:sp>
          <p:nvSpPr>
            <p:cNvPr id="10" name="Rectangle 9"/>
            <p:cNvSpPr/>
            <p:nvPr/>
          </p:nvSpPr>
          <p:spPr>
            <a:xfrm>
              <a:off x="3686416" y="6182326"/>
              <a:ext cx="3412328" cy="34044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274281" tIns="182854" rIns="274281" bIns="274281" rtlCol="0" anchor="b"/>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Scale up, down,</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and pause</a:t>
              </a:r>
            </a:p>
            <a:p>
              <a:pPr defTabSz="914225">
                <a:lnSpc>
                  <a:spcPct val="90000"/>
                </a:lnSpc>
                <a:spcBef>
                  <a:spcPts val="196"/>
                </a:spcBef>
                <a:spcAft>
                  <a:spcPts val="600"/>
                </a:spcAft>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Only pay for what you need</a:t>
              </a:r>
            </a:p>
          </p:txBody>
        </p:sp>
      </p:grpSp>
      <p:sp>
        <p:nvSpPr>
          <p:cNvPr id="18" name="Content Placeholder 4"/>
          <p:cNvSpPr txBox="1">
            <a:spLocks/>
          </p:cNvSpPr>
          <p:nvPr/>
        </p:nvSpPr>
        <p:spPr>
          <a:xfrm>
            <a:off x="8695632" y="1725794"/>
            <a:ext cx="3227129" cy="1705339"/>
          </a:xfrm>
          <a:prstGeom prst="rect">
            <a:avLst/>
          </a:prstGeom>
        </p:spPr>
        <p:txBody>
          <a:bodyPr vert="horz" wrap="square" lIns="146284" tIns="91427" rIns="146284" bIns="91427" rtlCol="0" anchor="ctr" anchorCtr="0">
            <a:spAutoFit/>
          </a:bodyPr>
          <a:lstStyle>
            <a:defPPr>
              <a:defRPr lang="en-US"/>
            </a:defPPr>
            <a:lvl1pPr marL="228600" marR="0" indent="-228600" fontAlgn="auto">
              <a:lnSpc>
                <a:spcPct val="90000"/>
              </a:lnSpc>
              <a:spcBef>
                <a:spcPts val="12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1pPr>
            <a:lvl2pPr marL="572691" marR="0" indent="-236546" defTabSz="914367"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4338" marR="0" indent="-224097" defTabSz="914367"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8435"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4pPr>
            <a:lvl5pPr marL="1232531"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marL="0" indent="0" defTabSz="914367">
              <a:spcBef>
                <a:spcPts val="1176"/>
              </a:spcBef>
              <a:buNone/>
            </a:pPr>
            <a:r>
              <a:rPr lang="en-US" sz="2745" dirty="0">
                <a:gradFill>
                  <a:gsLst>
                    <a:gs pos="1250">
                      <a:srgbClr val="353535"/>
                    </a:gs>
                    <a:gs pos="100000">
                      <a:srgbClr val="353535"/>
                    </a:gs>
                  </a:gsLst>
                  <a:lin ang="5400000" scaled="0"/>
                </a:gradFill>
                <a:latin typeface="Segoe UI Semilight"/>
              </a:rPr>
              <a:t>Rely on Microsoft’s experience running trusted enterprise cloud services</a:t>
            </a:r>
          </a:p>
        </p:txBody>
      </p:sp>
      <p:grpSp>
        <p:nvGrpSpPr>
          <p:cNvPr id="29" name="Group 28"/>
          <p:cNvGrpSpPr>
            <a:grpSpLocks noChangeAspect="1"/>
          </p:cNvGrpSpPr>
          <p:nvPr/>
        </p:nvGrpSpPr>
        <p:grpSpPr>
          <a:xfrm>
            <a:off x="2846304" y="2801503"/>
            <a:ext cx="3227129" cy="1908523"/>
            <a:chOff x="4661589" y="1873556"/>
            <a:chExt cx="3610696" cy="2135366"/>
          </a:xfrm>
        </p:grpSpPr>
        <p:sp>
          <p:nvSpPr>
            <p:cNvPr id="30"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1" name="TextBox 30">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36" name="Picture 35">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grpSp>
        <p:nvGrpSpPr>
          <p:cNvPr id="19" name="Group 18"/>
          <p:cNvGrpSpPr/>
          <p:nvPr/>
        </p:nvGrpSpPr>
        <p:grpSpPr>
          <a:xfrm>
            <a:off x="11071158" y="294937"/>
            <a:ext cx="887461" cy="887461"/>
            <a:chOff x="6531484" y="2254735"/>
            <a:chExt cx="1412358" cy="1412358"/>
          </a:xfrm>
        </p:grpSpPr>
        <p:sp>
          <p:nvSpPr>
            <p:cNvPr id="20" name="Oval 19"/>
            <p:cNvSpPr/>
            <p:nvPr/>
          </p:nvSpPr>
          <p:spPr bwMode="auto">
            <a:xfrm>
              <a:off x="6531484"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1" name="Freeform 5"/>
            <p:cNvSpPr>
              <a:spLocks noChangeAspect="1" noEditPoints="1"/>
            </p:cNvSpPr>
            <p:nvPr/>
          </p:nvSpPr>
          <p:spPr bwMode="black">
            <a:xfrm>
              <a:off x="6803430" y="2649823"/>
              <a:ext cx="809023" cy="503295"/>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6809313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extBox 125"/>
          <p:cNvSpPr txBox="1"/>
          <p:nvPr/>
        </p:nvSpPr>
        <p:spPr>
          <a:xfrm>
            <a:off x="356946" y="6531610"/>
            <a:ext cx="11287341" cy="271554"/>
          </a:xfrm>
          <a:prstGeom prst="rect">
            <a:avLst/>
          </a:prstGeom>
          <a:noFill/>
        </p:spPr>
        <p:txBody>
          <a:bodyPr wrap="square" lIns="0" tIns="0" rIns="0" bIns="0" rtlCol="0">
            <a:spAutoFit/>
          </a:bodyPr>
          <a:lstStyle/>
          <a:p>
            <a:pPr defTabSz="914225">
              <a:lnSpc>
                <a:spcPct val="90000"/>
              </a:lnSpc>
              <a:spcAft>
                <a:spcPts val="600"/>
              </a:spcAft>
              <a:defRPr/>
            </a:pPr>
            <a:r>
              <a:rPr lang="en-US" sz="1961" b="1" kern="0" dirty="0">
                <a:gradFill>
                  <a:gsLst>
                    <a:gs pos="2917">
                      <a:srgbClr val="2C2C2C"/>
                    </a:gs>
                    <a:gs pos="30000">
                      <a:srgbClr val="2C2C2C"/>
                    </a:gs>
                  </a:gsLst>
                  <a:lin ang="5400000" scaled="0"/>
                </a:gradFill>
                <a:latin typeface="Segoe UI"/>
              </a:rPr>
              <a:t>Note: </a:t>
            </a:r>
            <a:r>
              <a:rPr lang="en-US" sz="1961" kern="0" dirty="0">
                <a:gradFill>
                  <a:gsLst>
                    <a:gs pos="2917">
                      <a:srgbClr val="2C2C2C"/>
                    </a:gs>
                    <a:gs pos="30000">
                      <a:srgbClr val="2C2C2C"/>
                    </a:gs>
                  </a:gsLst>
                  <a:lin ang="5400000" scaled="0"/>
                </a:gradFill>
                <a:latin typeface="Segoe UI"/>
              </a:rPr>
              <a:t>For the latest pricing go to</a:t>
            </a:r>
            <a:r>
              <a:rPr lang="en-US" sz="1961" b="1" kern="0" dirty="0">
                <a:gradFill>
                  <a:gsLst>
                    <a:gs pos="2917">
                      <a:srgbClr val="2C2C2C"/>
                    </a:gs>
                    <a:gs pos="30000">
                      <a:srgbClr val="2C2C2C"/>
                    </a:gs>
                  </a:gsLst>
                  <a:lin ang="5400000" scaled="0"/>
                </a:gradFill>
                <a:latin typeface="Segoe UI"/>
              </a:rPr>
              <a:t> </a:t>
            </a:r>
            <a:r>
              <a:rPr lang="en-US" sz="1961" kern="0" dirty="0">
                <a:gradFill>
                  <a:gsLst>
                    <a:gs pos="2917">
                      <a:srgbClr val="2C2C2C"/>
                    </a:gs>
                    <a:gs pos="30000">
                      <a:srgbClr val="2C2C2C"/>
                    </a:gs>
                  </a:gsLst>
                  <a:lin ang="5400000" scaled="0"/>
                </a:gradFill>
                <a:latin typeface="Segoe UI"/>
                <a:hlinkClick r:id="rId3"/>
              </a:rPr>
              <a:t>https://azure.microsoft.com/en-us/pricing/details/analysis-services/</a:t>
            </a:r>
            <a:r>
              <a:rPr lang="en-US" sz="1961" kern="0" dirty="0">
                <a:gradFill>
                  <a:gsLst>
                    <a:gs pos="2917">
                      <a:srgbClr val="2C2C2C"/>
                    </a:gs>
                    <a:gs pos="30000">
                      <a:srgbClr val="2C2C2C"/>
                    </a:gs>
                  </a:gsLst>
                  <a:lin ang="5400000" scaled="0"/>
                </a:gradFill>
                <a:latin typeface="Segoe UI"/>
              </a:rPr>
              <a:t> </a:t>
            </a:r>
          </a:p>
        </p:txBody>
      </p:sp>
      <p:cxnSp>
        <p:nvCxnSpPr>
          <p:cNvPr id="13" name="Straight Connector 12"/>
          <p:cNvCxnSpPr>
            <a:cxnSpLocks/>
          </p:cNvCxnSpPr>
          <p:nvPr/>
        </p:nvCxnSpPr>
        <p:spPr>
          <a:xfrm>
            <a:off x="1927625" y="1573316"/>
            <a:ext cx="2722231" cy="79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3" name="Group 32"/>
          <p:cNvGrpSpPr>
            <a:grpSpLocks noChangeAspect="1"/>
          </p:cNvGrpSpPr>
          <p:nvPr/>
        </p:nvGrpSpPr>
        <p:grpSpPr>
          <a:xfrm>
            <a:off x="9769806" y="1567041"/>
            <a:ext cx="2389338" cy="3943960"/>
            <a:chOff x="8961075" y="2017880"/>
            <a:chExt cx="2893702" cy="3944520"/>
          </a:xfrm>
        </p:grpSpPr>
        <p:sp>
          <p:nvSpPr>
            <p:cNvPr id="5" name="Rectangle 4"/>
            <p:cNvSpPr/>
            <p:nvPr/>
          </p:nvSpPr>
          <p:spPr>
            <a:xfrm>
              <a:off x="8961075" y="2017880"/>
              <a:ext cx="2737257" cy="45108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4</a:t>
              </a:r>
              <a:r>
                <a:rPr lang="en-US" sz="1600" dirty="0">
                  <a:solidFill>
                    <a:srgbClr val="FFFFFF"/>
                  </a:solidFill>
                  <a:latin typeface="Segoe UI"/>
                </a:rPr>
                <a:t> Standard</a:t>
              </a:r>
            </a:p>
          </p:txBody>
        </p:sp>
        <p:sp>
          <p:nvSpPr>
            <p:cNvPr id="54" name="TextBox 53"/>
            <p:cNvSpPr txBox="1"/>
            <p:nvPr/>
          </p:nvSpPr>
          <p:spPr>
            <a:xfrm>
              <a:off x="9359153" y="4358636"/>
              <a:ext cx="2353944" cy="343492"/>
            </a:xfrm>
            <a:prstGeom prst="rect">
              <a:avLst/>
            </a:prstGeom>
            <a:noFill/>
          </p:spPr>
          <p:txBody>
            <a:bodyPr wrap="square" rtlCol="0">
              <a:spAutoFit/>
            </a:bodyPr>
            <a:lstStyle/>
            <a:p>
              <a:pPr defTabSz="914225">
                <a:defRPr/>
              </a:pPr>
              <a:endParaRPr lang="en-US" sz="1600" dirty="0">
                <a:solidFill>
                  <a:srgbClr val="2C2C2C"/>
                </a:solidFill>
                <a:latin typeface="Segoe UI"/>
              </a:endParaRPr>
            </a:p>
          </p:txBody>
        </p:sp>
        <p:grpSp>
          <p:nvGrpSpPr>
            <p:cNvPr id="113" name="Group 112"/>
            <p:cNvGrpSpPr/>
            <p:nvPr/>
          </p:nvGrpSpPr>
          <p:grpSpPr>
            <a:xfrm>
              <a:off x="8961075" y="2494019"/>
              <a:ext cx="2893702" cy="3468381"/>
              <a:chOff x="3267640" y="2480659"/>
              <a:chExt cx="2893702" cy="3468381"/>
            </a:xfrm>
          </p:grpSpPr>
          <p:sp>
            <p:nvSpPr>
              <p:cNvPr id="114" name="Rectangle 113"/>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15" name="TextBox 114"/>
              <p:cNvSpPr txBox="1"/>
              <p:nvPr/>
            </p:nvSpPr>
            <p:spPr>
              <a:xfrm>
                <a:off x="3299161" y="2646455"/>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400</a:t>
                </a:r>
                <a:r>
                  <a:rPr lang="en-US" sz="1200" dirty="0">
                    <a:solidFill>
                      <a:srgbClr val="FFFFFF"/>
                    </a:solidFill>
                    <a:latin typeface="Segoe UI"/>
                  </a:rPr>
                  <a:t> Query Processing Units</a:t>
                </a:r>
              </a:p>
            </p:txBody>
          </p:sp>
          <p:sp>
            <p:nvSpPr>
              <p:cNvPr id="116" name="TextBox 115"/>
              <p:cNvSpPr txBox="1"/>
              <p:nvPr/>
            </p:nvSpPr>
            <p:spPr>
              <a:xfrm>
                <a:off x="3343452" y="3265590"/>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0 GB </a:t>
                </a:r>
                <a:r>
                  <a:rPr lang="en-US" sz="1400" dirty="0">
                    <a:solidFill>
                      <a:srgbClr val="FFFFFF"/>
                    </a:solidFill>
                    <a:latin typeface="Segoe UI"/>
                  </a:rPr>
                  <a:t>Cache</a:t>
                </a:r>
              </a:p>
            </p:txBody>
          </p:sp>
          <p:sp>
            <p:nvSpPr>
              <p:cNvPr id="117" name="TextBox 116"/>
              <p:cNvSpPr txBox="1"/>
              <p:nvPr/>
            </p:nvSpPr>
            <p:spPr>
              <a:xfrm>
                <a:off x="373358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19" name="TextBox 118"/>
              <p:cNvSpPr txBox="1"/>
              <p:nvPr/>
            </p:nvSpPr>
            <p:spPr>
              <a:xfrm>
                <a:off x="3748343" y="4528243"/>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0" name="TextBox 119"/>
              <p:cNvSpPr txBox="1"/>
              <p:nvPr/>
            </p:nvSpPr>
            <p:spPr>
              <a:xfrm>
                <a:off x="3807398" y="5147377"/>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52" name="Straight Connector 151"/>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56" name="Title 1"/>
          <p:cNvSpPr>
            <a:spLocks noGrp="1"/>
          </p:cNvSpPr>
          <p:nvPr>
            <p:ph type="title"/>
          </p:nvPr>
        </p:nvSpPr>
        <p:spPr>
          <a:xfrm>
            <a:off x="346675" y="289958"/>
            <a:ext cx="11654187" cy="720178"/>
          </a:xfrm>
        </p:spPr>
        <p:txBody>
          <a:bodyPr anchor="t">
            <a:normAutofit fontScale="90000"/>
          </a:bodyPr>
          <a:lstStyle/>
          <a:p>
            <a:r>
              <a:rPr lang="en-US" dirty="0"/>
              <a:t>Azure Analysis Service tiers</a:t>
            </a:r>
            <a:br>
              <a:rPr lang="en-US" sz="2800" dirty="0"/>
            </a:br>
            <a:r>
              <a:rPr lang="en-US" sz="2800" dirty="0">
                <a:solidFill>
                  <a:schemeClr val="accent1"/>
                </a:solidFill>
              </a:rPr>
              <a:t>Select tier based on your needs</a:t>
            </a:r>
          </a:p>
        </p:txBody>
      </p:sp>
      <p:grpSp>
        <p:nvGrpSpPr>
          <p:cNvPr id="30" name="Group 29"/>
          <p:cNvGrpSpPr/>
          <p:nvPr/>
        </p:nvGrpSpPr>
        <p:grpSpPr>
          <a:xfrm>
            <a:off x="154479" y="1549140"/>
            <a:ext cx="2260756" cy="3957327"/>
            <a:chOff x="476960" y="2011768"/>
            <a:chExt cx="2826347" cy="3957889"/>
          </a:xfrm>
        </p:grpSpPr>
        <p:sp>
          <p:nvSpPr>
            <p:cNvPr id="45" name="Rectangle 44"/>
            <p:cNvSpPr/>
            <p:nvPr/>
          </p:nvSpPr>
          <p:spPr>
            <a:xfrm>
              <a:off x="476960" y="2011768"/>
              <a:ext cx="2743200" cy="45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D1 </a:t>
              </a:r>
              <a:r>
                <a:rPr lang="en-US" sz="1600" dirty="0">
                  <a:solidFill>
                    <a:srgbClr val="FFFFFF"/>
                  </a:solidFill>
                  <a:latin typeface="Segoe UI"/>
                </a:rPr>
                <a:t>Developer</a:t>
              </a:r>
              <a:r>
                <a:rPr lang="en-US" sz="1600" b="1" dirty="0">
                  <a:solidFill>
                    <a:srgbClr val="FFFFFF"/>
                  </a:solidFill>
                  <a:latin typeface="Segoe UI"/>
                </a:rPr>
                <a:t> </a:t>
              </a:r>
              <a:endParaRPr lang="en-US" sz="1600" dirty="0">
                <a:solidFill>
                  <a:srgbClr val="FFFFFF"/>
                </a:solidFill>
                <a:latin typeface="Segoe UI"/>
              </a:endParaRPr>
            </a:p>
          </p:txBody>
        </p:sp>
        <p:grpSp>
          <p:nvGrpSpPr>
            <p:cNvPr id="25" name="Group 24"/>
            <p:cNvGrpSpPr/>
            <p:nvPr/>
          </p:nvGrpSpPr>
          <p:grpSpPr>
            <a:xfrm>
              <a:off x="476960" y="2496312"/>
              <a:ext cx="2826347" cy="3473345"/>
              <a:chOff x="476960" y="2470254"/>
              <a:chExt cx="2826347" cy="3473345"/>
            </a:xfrm>
          </p:grpSpPr>
          <p:sp>
            <p:nvSpPr>
              <p:cNvPr id="46" name="Rectangle 45"/>
              <p:cNvSpPr/>
              <p:nvPr/>
            </p:nvSpPr>
            <p:spPr>
              <a:xfrm>
                <a:off x="476960" y="2470254"/>
                <a:ext cx="2743200" cy="34733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67" name="TextBox 66"/>
              <p:cNvSpPr txBox="1"/>
              <p:nvPr/>
            </p:nvSpPr>
            <p:spPr>
              <a:xfrm>
                <a:off x="529628" y="2636050"/>
                <a:ext cx="2743199" cy="280718"/>
              </a:xfrm>
              <a:prstGeom prst="rect">
                <a:avLst/>
              </a:prstGeom>
              <a:noFill/>
            </p:spPr>
            <p:txBody>
              <a:bodyPr wrap="square" rtlCol="0">
                <a:spAutoFit/>
              </a:bodyPr>
              <a:lstStyle/>
              <a:p>
                <a:pPr defTabSz="914225">
                  <a:defRPr/>
                </a:pPr>
                <a:r>
                  <a:rPr lang="en-US" sz="1200" b="1" dirty="0">
                    <a:solidFill>
                      <a:srgbClr val="FFFFFF"/>
                    </a:solidFill>
                    <a:latin typeface="Segoe UI"/>
                  </a:rPr>
                  <a:t>20</a:t>
                </a:r>
                <a:r>
                  <a:rPr lang="en-US" sz="1200" dirty="0">
                    <a:solidFill>
                      <a:srgbClr val="FFFFFF"/>
                    </a:solidFill>
                    <a:latin typeface="Segoe UI"/>
                  </a:rPr>
                  <a:t> Query Processing Units</a:t>
                </a:r>
              </a:p>
            </p:txBody>
          </p:sp>
          <p:sp>
            <p:nvSpPr>
              <p:cNvPr id="68" name="TextBox 67"/>
              <p:cNvSpPr txBox="1"/>
              <p:nvPr/>
            </p:nvSpPr>
            <p:spPr>
              <a:xfrm>
                <a:off x="560108" y="3266235"/>
                <a:ext cx="2743199" cy="312073"/>
              </a:xfrm>
              <a:prstGeom prst="rect">
                <a:avLst/>
              </a:prstGeom>
              <a:noFill/>
            </p:spPr>
            <p:txBody>
              <a:bodyPr wrap="square" rtlCol="0">
                <a:spAutoFit/>
              </a:bodyPr>
              <a:lstStyle/>
              <a:p>
                <a:pPr defTabSz="914225">
                  <a:defRPr/>
                </a:pPr>
                <a:r>
                  <a:rPr lang="en-US" sz="1400" b="1" dirty="0">
                    <a:solidFill>
                      <a:srgbClr val="FFFFFF"/>
                    </a:solidFill>
                    <a:latin typeface="Segoe UI"/>
                  </a:rPr>
                  <a:t>Up to 3 GB </a:t>
                </a:r>
                <a:r>
                  <a:rPr lang="en-US" sz="1400" dirty="0">
                    <a:solidFill>
                      <a:srgbClr val="FFFFFF"/>
                    </a:solidFill>
                    <a:latin typeface="Segoe UI"/>
                  </a:rPr>
                  <a:t>Cache</a:t>
                </a:r>
              </a:p>
            </p:txBody>
          </p:sp>
          <p:sp>
            <p:nvSpPr>
              <p:cNvPr id="69" name="TextBox 68"/>
              <p:cNvSpPr txBox="1"/>
              <p:nvPr/>
            </p:nvSpPr>
            <p:spPr>
              <a:xfrm>
                <a:off x="1056044" y="3823268"/>
                <a:ext cx="1985546" cy="531812"/>
              </a:xfrm>
              <a:prstGeom prst="rect">
                <a:avLst/>
              </a:prstGeom>
              <a:noFill/>
            </p:spPr>
            <p:txBody>
              <a:bodyPr wrap="square" rtlCol="0">
                <a:spAutoFit/>
              </a:bodyPr>
              <a:lstStyle/>
              <a:p>
                <a:pPr defTabSz="914225">
                  <a:defRPr/>
                </a:pPr>
                <a:r>
                  <a:rPr lang="en-US" sz="1400" dirty="0">
                    <a:solidFill>
                      <a:srgbClr val="FFFFFF"/>
                    </a:solidFill>
                    <a:latin typeface="Segoe UI"/>
                  </a:rPr>
                  <a:t>Shared infrastructure</a:t>
                </a:r>
              </a:p>
            </p:txBody>
          </p:sp>
          <p:sp>
            <p:nvSpPr>
              <p:cNvPr id="70" name="TextBox 69"/>
              <p:cNvSpPr txBox="1"/>
              <p:nvPr/>
            </p:nvSpPr>
            <p:spPr>
              <a:xfrm>
                <a:off x="1086524" y="4526604"/>
                <a:ext cx="1732815"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cxnSp>
            <p:nvCxnSpPr>
              <p:cNvPr id="95" name="Straight Connector 94"/>
              <p:cNvCxnSpPr/>
              <p:nvPr/>
            </p:nvCxnSpPr>
            <p:spPr>
              <a:xfrm>
                <a:off x="516179"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16179"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16179"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7" name="Straight Connector 156"/>
            <p:cNvCxnSpPr/>
            <p:nvPr/>
          </p:nvCxnSpPr>
          <p:spPr>
            <a:xfrm>
              <a:off x="497542" y="503828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75705" y="5175804"/>
              <a:ext cx="2116231" cy="531812"/>
            </a:xfrm>
            <a:prstGeom prst="rect">
              <a:avLst/>
            </a:prstGeom>
            <a:noFill/>
          </p:spPr>
          <p:txBody>
            <a:bodyPr wrap="square" rtlCol="0">
              <a:spAutoFit/>
            </a:bodyPr>
            <a:lstStyle/>
            <a:p>
              <a:pPr defTabSz="914225">
                <a:defRPr/>
              </a:pPr>
              <a:r>
                <a:rPr lang="en-US" sz="1400" i="1" dirty="0">
                  <a:solidFill>
                    <a:srgbClr val="FFFFFF"/>
                  </a:solidFill>
                  <a:latin typeface="Segoe UI"/>
                </a:rPr>
                <a:t>For test and development only</a:t>
              </a:r>
            </a:p>
          </p:txBody>
        </p:sp>
      </p:grpSp>
      <p:pic>
        <p:nvPicPr>
          <p:cNvPr id="77" name="Picture 76"/>
          <p:cNvPicPr>
            <a:picLocks noChangeAspect="1"/>
          </p:cNvPicPr>
          <p:nvPr/>
        </p:nvPicPr>
        <p:blipFill>
          <a:blip r:embed="rId4"/>
          <a:stretch>
            <a:fillRect/>
          </a:stretch>
        </p:blipFill>
        <p:spPr>
          <a:xfrm>
            <a:off x="252418" y="3407229"/>
            <a:ext cx="365708" cy="365708"/>
          </a:xfrm>
          <a:prstGeom prst="rect">
            <a:avLst/>
          </a:prstGeom>
        </p:spPr>
      </p:pic>
      <p:pic>
        <p:nvPicPr>
          <p:cNvPr id="159" name="Picture 158"/>
          <p:cNvPicPr>
            <a:picLocks noChangeAspect="1"/>
          </p:cNvPicPr>
          <p:nvPr/>
        </p:nvPicPr>
        <p:blipFill>
          <a:blip r:embed="rId5"/>
          <a:stretch>
            <a:fillRect/>
          </a:stretch>
        </p:blipFill>
        <p:spPr>
          <a:xfrm>
            <a:off x="9844578" y="4774652"/>
            <a:ext cx="365708" cy="365708"/>
          </a:xfrm>
          <a:prstGeom prst="rect">
            <a:avLst/>
          </a:prstGeom>
        </p:spPr>
      </p:pic>
      <p:pic>
        <p:nvPicPr>
          <p:cNvPr id="82" name="Picture 81"/>
          <p:cNvPicPr>
            <a:picLocks noChangeAspect="1"/>
          </p:cNvPicPr>
          <p:nvPr/>
        </p:nvPicPr>
        <p:blipFill>
          <a:blip r:embed="rId6"/>
          <a:stretch>
            <a:fillRect/>
          </a:stretch>
        </p:blipFill>
        <p:spPr>
          <a:xfrm>
            <a:off x="228037" y="4038736"/>
            <a:ext cx="365708" cy="365708"/>
          </a:xfrm>
          <a:prstGeom prst="rect">
            <a:avLst/>
          </a:prstGeom>
        </p:spPr>
      </p:pic>
      <p:pic>
        <p:nvPicPr>
          <p:cNvPr id="162" name="Picture 161"/>
          <p:cNvPicPr>
            <a:picLocks noChangeAspect="1"/>
          </p:cNvPicPr>
          <p:nvPr/>
        </p:nvPicPr>
        <p:blipFill>
          <a:blip r:embed="rId6"/>
          <a:stretch>
            <a:fillRect/>
          </a:stretch>
        </p:blipFill>
        <p:spPr>
          <a:xfrm>
            <a:off x="9820197" y="4063117"/>
            <a:ext cx="365708" cy="365708"/>
          </a:xfrm>
          <a:prstGeom prst="rect">
            <a:avLst/>
          </a:prstGeom>
        </p:spPr>
      </p:pic>
      <p:pic>
        <p:nvPicPr>
          <p:cNvPr id="164" name="Picture 163"/>
          <p:cNvPicPr>
            <a:picLocks noChangeAspect="1"/>
          </p:cNvPicPr>
          <p:nvPr/>
        </p:nvPicPr>
        <p:blipFill>
          <a:blip r:embed="rId7"/>
          <a:stretch>
            <a:fillRect/>
          </a:stretch>
        </p:blipFill>
        <p:spPr>
          <a:xfrm>
            <a:off x="9820197" y="3431609"/>
            <a:ext cx="365708" cy="365708"/>
          </a:xfrm>
          <a:prstGeom prst="rect">
            <a:avLst/>
          </a:prstGeom>
        </p:spPr>
      </p:pic>
      <p:grpSp>
        <p:nvGrpSpPr>
          <p:cNvPr id="90" name="Group 89"/>
          <p:cNvGrpSpPr/>
          <p:nvPr/>
        </p:nvGrpSpPr>
        <p:grpSpPr>
          <a:xfrm>
            <a:off x="6997287" y="1560435"/>
            <a:ext cx="2259976" cy="3952365"/>
            <a:chOff x="3267640" y="2011767"/>
            <a:chExt cx="2836253" cy="3952926"/>
          </a:xfrm>
        </p:grpSpPr>
        <p:sp>
          <p:nvSpPr>
            <p:cNvPr id="91" name="Rectangle 90"/>
            <p:cNvSpPr/>
            <p:nvPr/>
          </p:nvSpPr>
          <p:spPr>
            <a:xfrm>
              <a:off x="3272827" y="2011767"/>
              <a:ext cx="2738013" cy="45720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S0</a:t>
              </a:r>
              <a:r>
                <a:rPr lang="en-US" sz="1600" dirty="0">
                  <a:solidFill>
                    <a:srgbClr val="FFFFFF"/>
                  </a:solidFill>
                  <a:latin typeface="Segoe UI"/>
                </a:rPr>
                <a:t> Standard</a:t>
              </a:r>
            </a:p>
          </p:txBody>
        </p:sp>
        <p:grpSp>
          <p:nvGrpSpPr>
            <p:cNvPr id="98" name="Group 97"/>
            <p:cNvGrpSpPr/>
            <p:nvPr/>
          </p:nvGrpSpPr>
          <p:grpSpPr>
            <a:xfrm>
              <a:off x="3267640" y="2496312"/>
              <a:ext cx="2836253" cy="3468381"/>
              <a:chOff x="3267640" y="2480659"/>
              <a:chExt cx="2836253" cy="3468381"/>
            </a:xfrm>
          </p:grpSpPr>
          <p:sp>
            <p:nvSpPr>
              <p:cNvPr id="106" name="Rectangle 105"/>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07" name="TextBox 106"/>
              <p:cNvSpPr txBox="1"/>
              <p:nvPr/>
            </p:nvSpPr>
            <p:spPr>
              <a:xfrm>
                <a:off x="3299161" y="2646455"/>
                <a:ext cx="2743200" cy="280718"/>
              </a:xfrm>
              <a:prstGeom prst="rect">
                <a:avLst/>
              </a:prstGeom>
              <a:noFill/>
            </p:spPr>
            <p:txBody>
              <a:bodyPr wrap="square" rtlCol="0">
                <a:spAutoFit/>
              </a:bodyPr>
              <a:lstStyle/>
              <a:p>
                <a:pPr defTabSz="914225">
                  <a:defRPr/>
                </a:pPr>
                <a:r>
                  <a:rPr lang="en-US" sz="1200" b="1" kern="0" dirty="0">
                    <a:solidFill>
                      <a:srgbClr val="FFFFFF"/>
                    </a:solidFill>
                    <a:latin typeface="Segoe UI"/>
                  </a:rPr>
                  <a:t>40</a:t>
                </a:r>
                <a:r>
                  <a:rPr lang="en-US" sz="1200" dirty="0">
                    <a:solidFill>
                      <a:srgbClr val="FFFFFF"/>
                    </a:solidFill>
                    <a:latin typeface="Segoe UI"/>
                  </a:rPr>
                  <a:t> Query Processing Units</a:t>
                </a:r>
              </a:p>
            </p:txBody>
          </p:sp>
          <p:sp>
            <p:nvSpPr>
              <p:cNvPr id="108" name="TextBox 107"/>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a:t>
                </a:r>
                <a:r>
                  <a:rPr lang="en-US" sz="1400" b="1" kern="0" dirty="0">
                    <a:solidFill>
                      <a:srgbClr val="FFFFFF"/>
                    </a:solidFill>
                    <a:latin typeface="Segoe UI"/>
                  </a:rPr>
                  <a:t>10</a:t>
                </a:r>
                <a:r>
                  <a:rPr lang="en-US" sz="1400" b="1" dirty="0">
                    <a:solidFill>
                      <a:srgbClr val="FFFFFF"/>
                    </a:solidFill>
                    <a:latin typeface="Segoe UI"/>
                  </a:rPr>
                  <a:t> GB </a:t>
                </a:r>
                <a:r>
                  <a:rPr lang="en-US" sz="1400" dirty="0">
                    <a:solidFill>
                      <a:srgbClr val="FFFFFF"/>
                    </a:solidFill>
                    <a:latin typeface="Segoe UI"/>
                  </a:rPr>
                  <a:t>Cache</a:t>
                </a:r>
              </a:p>
            </p:txBody>
          </p:sp>
          <p:sp>
            <p:nvSpPr>
              <p:cNvPr id="118" name="TextBox 117"/>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21" name="TextBox 120"/>
              <p:cNvSpPr txBox="1"/>
              <p:nvPr/>
            </p:nvSpPr>
            <p:spPr>
              <a:xfrm>
                <a:off x="3734651" y="4552627"/>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22" name="TextBox 121"/>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23" name="Straight Connector 122"/>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28" name="Picture 127"/>
          <p:cNvPicPr>
            <a:picLocks noChangeAspect="1"/>
          </p:cNvPicPr>
          <p:nvPr/>
        </p:nvPicPr>
        <p:blipFill>
          <a:blip r:embed="rId5"/>
          <a:stretch>
            <a:fillRect/>
          </a:stretch>
        </p:blipFill>
        <p:spPr>
          <a:xfrm>
            <a:off x="7027767" y="4829509"/>
            <a:ext cx="365708" cy="365708"/>
          </a:xfrm>
          <a:prstGeom prst="rect">
            <a:avLst/>
          </a:prstGeom>
        </p:spPr>
      </p:pic>
      <p:pic>
        <p:nvPicPr>
          <p:cNvPr id="129" name="Picture 128"/>
          <p:cNvPicPr>
            <a:picLocks noChangeAspect="1"/>
          </p:cNvPicPr>
          <p:nvPr/>
        </p:nvPicPr>
        <p:blipFill>
          <a:blip r:embed="rId6"/>
          <a:stretch>
            <a:fillRect/>
          </a:stretch>
        </p:blipFill>
        <p:spPr>
          <a:xfrm>
            <a:off x="7015576" y="4117973"/>
            <a:ext cx="365708" cy="365708"/>
          </a:xfrm>
          <a:prstGeom prst="rect">
            <a:avLst/>
          </a:prstGeom>
        </p:spPr>
      </p:pic>
      <p:pic>
        <p:nvPicPr>
          <p:cNvPr id="130" name="Picture 129"/>
          <p:cNvPicPr>
            <a:picLocks noChangeAspect="1"/>
          </p:cNvPicPr>
          <p:nvPr/>
        </p:nvPicPr>
        <p:blipFill>
          <a:blip r:embed="rId7"/>
          <a:stretch>
            <a:fillRect/>
          </a:stretch>
        </p:blipFill>
        <p:spPr>
          <a:xfrm>
            <a:off x="7027767" y="3449894"/>
            <a:ext cx="365708" cy="365708"/>
          </a:xfrm>
          <a:prstGeom prst="rect">
            <a:avLst/>
          </a:prstGeom>
        </p:spPr>
      </p:pic>
      <p:sp>
        <p:nvSpPr>
          <p:cNvPr id="131" name="Rectangle 130"/>
          <p:cNvSpPr/>
          <p:nvPr/>
        </p:nvSpPr>
        <p:spPr>
          <a:xfrm>
            <a:off x="6997288" y="5917433"/>
            <a:ext cx="2185829"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134" name="Rectangle 133"/>
          <p:cNvSpPr>
            <a:spLocks noChangeAspect="1"/>
          </p:cNvSpPr>
          <p:nvPr/>
        </p:nvSpPr>
        <p:spPr>
          <a:xfrm>
            <a:off x="9774090" y="5902134"/>
            <a:ext cx="2265068" cy="44345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
        <p:nvSpPr>
          <p:cNvPr id="4" name="TextBox 3"/>
          <p:cNvSpPr txBox="1"/>
          <p:nvPr/>
        </p:nvSpPr>
        <p:spPr>
          <a:xfrm>
            <a:off x="154479" y="5545755"/>
            <a:ext cx="1779242" cy="336740"/>
          </a:xfrm>
          <a:prstGeom prst="rect">
            <a:avLst/>
          </a:prstGeom>
          <a:noFill/>
        </p:spPr>
        <p:txBody>
          <a:bodyPr wrap="none" rtlCol="0">
            <a:spAutoFit/>
          </a:bodyPr>
          <a:lstStyle/>
          <a:p>
            <a:pPr defTabSz="914225"/>
            <a:r>
              <a:rPr lang="en-US" sz="1600" kern="0" dirty="0">
                <a:solidFill>
                  <a:srgbClr val="0070C0"/>
                </a:solidFill>
                <a:latin typeface="Segoe UI"/>
              </a:rPr>
              <a:t>Feature Additions</a:t>
            </a:r>
          </a:p>
        </p:txBody>
      </p:sp>
      <p:grpSp>
        <p:nvGrpSpPr>
          <p:cNvPr id="148" name="Group 147"/>
          <p:cNvGrpSpPr/>
          <p:nvPr/>
        </p:nvGrpSpPr>
        <p:grpSpPr>
          <a:xfrm>
            <a:off x="2465441" y="1560435"/>
            <a:ext cx="2259976" cy="3958460"/>
            <a:chOff x="3267640" y="2005671"/>
            <a:chExt cx="2836253" cy="3959022"/>
          </a:xfrm>
        </p:grpSpPr>
        <p:sp>
          <p:nvSpPr>
            <p:cNvPr id="149" name="Rectangle 148"/>
            <p:cNvSpPr/>
            <p:nvPr/>
          </p:nvSpPr>
          <p:spPr>
            <a:xfrm>
              <a:off x="3272827" y="2005671"/>
              <a:ext cx="2743200" cy="4632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1</a:t>
              </a:r>
              <a:r>
                <a:rPr lang="en-US" sz="1600" dirty="0">
                  <a:solidFill>
                    <a:srgbClr val="FFFFFF"/>
                  </a:solidFill>
                  <a:latin typeface="Segoe UI"/>
                </a:rPr>
                <a:t> Basic</a:t>
              </a:r>
            </a:p>
          </p:txBody>
        </p:sp>
        <p:grpSp>
          <p:nvGrpSpPr>
            <p:cNvPr id="150" name="Group 149"/>
            <p:cNvGrpSpPr/>
            <p:nvPr/>
          </p:nvGrpSpPr>
          <p:grpSpPr>
            <a:xfrm>
              <a:off x="3267640" y="2496312"/>
              <a:ext cx="2836253" cy="3468381"/>
              <a:chOff x="3267640" y="2480659"/>
              <a:chExt cx="2836253" cy="3468381"/>
            </a:xfrm>
          </p:grpSpPr>
          <p:sp>
            <p:nvSpPr>
              <p:cNvPr id="151" name="Rectangle 150"/>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dirty="0">
                  <a:solidFill>
                    <a:srgbClr val="FFFFFF"/>
                  </a:solidFill>
                  <a:latin typeface="Segoe UI"/>
                </a:endParaRPr>
              </a:p>
            </p:txBody>
          </p:sp>
          <p:sp>
            <p:nvSpPr>
              <p:cNvPr id="165" name="TextBox 164"/>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40</a:t>
                </a:r>
                <a:r>
                  <a:rPr lang="en-US" sz="1200" dirty="0">
                    <a:solidFill>
                      <a:srgbClr val="FFFFFF"/>
                    </a:solidFill>
                    <a:latin typeface="Segoe UI"/>
                  </a:rPr>
                  <a:t> Query Processing Units</a:t>
                </a:r>
              </a:p>
            </p:txBody>
          </p:sp>
          <p:sp>
            <p:nvSpPr>
              <p:cNvPr id="166" name="TextBox 165"/>
              <p:cNvSpPr txBox="1"/>
              <p:nvPr/>
            </p:nvSpPr>
            <p:spPr>
              <a:xfrm>
                <a:off x="3329758"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10 GB </a:t>
                </a:r>
                <a:r>
                  <a:rPr lang="en-US" sz="1400" dirty="0">
                    <a:solidFill>
                      <a:srgbClr val="FFFFFF"/>
                    </a:solidFill>
                    <a:latin typeface="Segoe UI"/>
                  </a:rPr>
                  <a:t>Cache</a:t>
                </a:r>
              </a:p>
            </p:txBody>
          </p:sp>
          <p:sp>
            <p:nvSpPr>
              <p:cNvPr id="167" name="TextBox 166"/>
              <p:cNvSpPr txBox="1"/>
              <p:nvPr/>
            </p:nvSpPr>
            <p:spPr>
              <a:xfrm>
                <a:off x="3734651" y="388472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68" name="TextBox 167"/>
              <p:cNvSpPr txBox="1"/>
              <p:nvPr/>
            </p:nvSpPr>
            <p:spPr>
              <a:xfrm>
                <a:off x="3749949" y="4540435"/>
                <a:ext cx="2353944"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69" name="TextBox 168"/>
              <p:cNvSpPr txBox="1"/>
              <p:nvPr/>
            </p:nvSpPr>
            <p:spPr>
              <a:xfrm>
                <a:off x="3749949" y="5196145"/>
                <a:ext cx="2353944"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70" name="Straight Connector 169"/>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74" name="Picture 173"/>
          <p:cNvPicPr>
            <a:picLocks noChangeAspect="1"/>
          </p:cNvPicPr>
          <p:nvPr/>
        </p:nvPicPr>
        <p:blipFill>
          <a:blip r:embed="rId5"/>
          <a:stretch>
            <a:fillRect/>
          </a:stretch>
        </p:blipFill>
        <p:spPr>
          <a:xfrm>
            <a:off x="2495920" y="4835604"/>
            <a:ext cx="365708" cy="365708"/>
          </a:xfrm>
          <a:prstGeom prst="rect">
            <a:avLst/>
          </a:prstGeom>
        </p:spPr>
      </p:pic>
      <p:pic>
        <p:nvPicPr>
          <p:cNvPr id="175" name="Picture 174"/>
          <p:cNvPicPr>
            <a:picLocks noChangeAspect="1"/>
          </p:cNvPicPr>
          <p:nvPr/>
        </p:nvPicPr>
        <p:blipFill>
          <a:blip r:embed="rId6"/>
          <a:stretch>
            <a:fillRect/>
          </a:stretch>
        </p:blipFill>
        <p:spPr>
          <a:xfrm>
            <a:off x="2483730" y="4099688"/>
            <a:ext cx="365708" cy="365708"/>
          </a:xfrm>
          <a:prstGeom prst="rect">
            <a:avLst/>
          </a:prstGeom>
        </p:spPr>
      </p:pic>
      <p:pic>
        <p:nvPicPr>
          <p:cNvPr id="176" name="Picture 175"/>
          <p:cNvPicPr>
            <a:picLocks noChangeAspect="1"/>
          </p:cNvPicPr>
          <p:nvPr/>
        </p:nvPicPr>
        <p:blipFill>
          <a:blip r:embed="rId7"/>
          <a:stretch>
            <a:fillRect/>
          </a:stretch>
        </p:blipFill>
        <p:spPr>
          <a:xfrm>
            <a:off x="2495920" y="3468180"/>
            <a:ext cx="365708" cy="365708"/>
          </a:xfrm>
          <a:prstGeom prst="rect">
            <a:avLst/>
          </a:prstGeom>
        </p:spPr>
      </p:pic>
      <p:grpSp>
        <p:nvGrpSpPr>
          <p:cNvPr id="178" name="Group 177"/>
          <p:cNvGrpSpPr/>
          <p:nvPr/>
        </p:nvGrpSpPr>
        <p:grpSpPr>
          <a:xfrm>
            <a:off x="4758590" y="1560435"/>
            <a:ext cx="2274490" cy="3954961"/>
            <a:chOff x="6111764" y="2011273"/>
            <a:chExt cx="2883069" cy="3955522"/>
          </a:xfrm>
        </p:grpSpPr>
        <p:sp>
          <p:nvSpPr>
            <p:cNvPr id="179" name="Rectangle 178"/>
            <p:cNvSpPr/>
            <p:nvPr/>
          </p:nvSpPr>
          <p:spPr>
            <a:xfrm>
              <a:off x="6121362" y="2011273"/>
              <a:ext cx="2733602" cy="45769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defRPr/>
              </a:pPr>
              <a:r>
                <a:rPr lang="en-US" sz="1600" b="1" dirty="0">
                  <a:solidFill>
                    <a:srgbClr val="FFFFFF"/>
                  </a:solidFill>
                  <a:latin typeface="Segoe UI"/>
                </a:rPr>
                <a:t>B2</a:t>
              </a:r>
              <a:r>
                <a:rPr lang="en-US" sz="1600" dirty="0">
                  <a:solidFill>
                    <a:srgbClr val="FFFFFF"/>
                  </a:solidFill>
                  <a:latin typeface="Segoe UI"/>
                </a:rPr>
                <a:t> Basic</a:t>
              </a:r>
            </a:p>
          </p:txBody>
        </p:sp>
        <p:sp>
          <p:nvSpPr>
            <p:cNvPr id="180" name="TextBox 179"/>
            <p:cNvSpPr txBox="1"/>
            <p:nvPr/>
          </p:nvSpPr>
          <p:spPr>
            <a:xfrm>
              <a:off x="6526306" y="4512448"/>
              <a:ext cx="2353943" cy="343492"/>
            </a:xfrm>
            <a:prstGeom prst="rect">
              <a:avLst/>
            </a:prstGeom>
            <a:noFill/>
          </p:spPr>
          <p:txBody>
            <a:bodyPr wrap="square" rtlCol="0">
              <a:spAutoFit/>
            </a:bodyPr>
            <a:lstStyle/>
            <a:p>
              <a:pPr defTabSz="914225">
                <a:defRPr/>
              </a:pPr>
              <a:r>
                <a:rPr lang="en-US" sz="1600" dirty="0">
                  <a:solidFill>
                    <a:srgbClr val="FFFFFF"/>
                  </a:solidFill>
                  <a:latin typeface="Segoe UI"/>
                </a:rPr>
                <a:t>SSL</a:t>
              </a:r>
            </a:p>
          </p:txBody>
        </p:sp>
        <p:grpSp>
          <p:nvGrpSpPr>
            <p:cNvPr id="181" name="Group 180"/>
            <p:cNvGrpSpPr/>
            <p:nvPr/>
          </p:nvGrpSpPr>
          <p:grpSpPr>
            <a:xfrm>
              <a:off x="6111764" y="2498414"/>
              <a:ext cx="2883069" cy="3468381"/>
              <a:chOff x="3267640" y="2480659"/>
              <a:chExt cx="2883069" cy="3468381"/>
            </a:xfrm>
          </p:grpSpPr>
          <p:sp>
            <p:nvSpPr>
              <p:cNvPr id="182" name="Rectangle 181"/>
              <p:cNvSpPr/>
              <p:nvPr/>
            </p:nvSpPr>
            <p:spPr>
              <a:xfrm>
                <a:off x="3272827" y="2480659"/>
                <a:ext cx="2743200" cy="3468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srgbClr val="FFFFFF"/>
                  </a:solidFill>
                  <a:latin typeface="Segoe UI"/>
                </a:endParaRPr>
              </a:p>
            </p:txBody>
          </p:sp>
          <p:sp>
            <p:nvSpPr>
              <p:cNvPr id="183" name="TextBox 182"/>
              <p:cNvSpPr txBox="1"/>
              <p:nvPr/>
            </p:nvSpPr>
            <p:spPr>
              <a:xfrm>
                <a:off x="3299161" y="2646455"/>
                <a:ext cx="2743200" cy="280718"/>
              </a:xfrm>
              <a:prstGeom prst="rect">
                <a:avLst/>
              </a:prstGeom>
              <a:noFill/>
            </p:spPr>
            <p:txBody>
              <a:bodyPr wrap="square" rtlCol="0">
                <a:spAutoFit/>
              </a:bodyPr>
              <a:lstStyle/>
              <a:p>
                <a:pPr defTabSz="914225">
                  <a:defRPr/>
                </a:pPr>
                <a:r>
                  <a:rPr lang="en-US" sz="1200" b="1" dirty="0">
                    <a:solidFill>
                      <a:srgbClr val="FFFFFF"/>
                    </a:solidFill>
                    <a:latin typeface="Segoe UI"/>
                  </a:rPr>
                  <a:t>80</a:t>
                </a:r>
                <a:r>
                  <a:rPr lang="en-US" sz="1200" dirty="0">
                    <a:solidFill>
                      <a:srgbClr val="FFFFFF"/>
                    </a:solidFill>
                    <a:latin typeface="Segoe UI"/>
                  </a:rPr>
                  <a:t> Query Processing Units</a:t>
                </a:r>
              </a:p>
            </p:txBody>
          </p:sp>
          <p:sp>
            <p:nvSpPr>
              <p:cNvPr id="184" name="TextBox 183"/>
              <p:cNvSpPr txBox="1"/>
              <p:nvPr/>
            </p:nvSpPr>
            <p:spPr>
              <a:xfrm>
                <a:off x="3330065" y="3265590"/>
                <a:ext cx="2743200" cy="312073"/>
              </a:xfrm>
              <a:prstGeom prst="rect">
                <a:avLst/>
              </a:prstGeom>
              <a:noFill/>
            </p:spPr>
            <p:txBody>
              <a:bodyPr wrap="square" rtlCol="0">
                <a:spAutoFit/>
              </a:bodyPr>
              <a:lstStyle/>
              <a:p>
                <a:pPr defTabSz="914225">
                  <a:defRPr/>
                </a:pPr>
                <a:r>
                  <a:rPr lang="en-US" sz="1400" b="1" dirty="0">
                    <a:solidFill>
                      <a:srgbClr val="FFFFFF"/>
                    </a:solidFill>
                    <a:latin typeface="Segoe UI"/>
                  </a:rPr>
                  <a:t>Up to 20 GB </a:t>
                </a:r>
                <a:r>
                  <a:rPr lang="en-US" sz="1400" dirty="0">
                    <a:solidFill>
                      <a:srgbClr val="FFFFFF"/>
                    </a:solidFill>
                    <a:latin typeface="Segoe UI"/>
                  </a:rPr>
                  <a:t>Cache</a:t>
                </a:r>
              </a:p>
            </p:txBody>
          </p:sp>
          <p:sp>
            <p:nvSpPr>
              <p:cNvPr id="185" name="TextBox 184"/>
              <p:cNvSpPr txBox="1"/>
              <p:nvPr/>
            </p:nvSpPr>
            <p:spPr>
              <a:xfrm>
                <a:off x="3734958" y="3884725"/>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Dedicated service</a:t>
                </a:r>
              </a:p>
            </p:txBody>
          </p:sp>
          <p:sp>
            <p:nvSpPr>
              <p:cNvPr id="186" name="TextBox 185"/>
              <p:cNvSpPr txBox="1"/>
              <p:nvPr/>
            </p:nvSpPr>
            <p:spPr>
              <a:xfrm>
                <a:off x="3750410" y="4516051"/>
                <a:ext cx="2353943" cy="312073"/>
              </a:xfrm>
              <a:prstGeom prst="rect">
                <a:avLst/>
              </a:prstGeom>
              <a:noFill/>
            </p:spPr>
            <p:txBody>
              <a:bodyPr wrap="square" rtlCol="0">
                <a:spAutoFit/>
              </a:bodyPr>
              <a:lstStyle/>
              <a:p>
                <a:pPr defTabSz="914225">
                  <a:defRPr/>
                </a:pPr>
                <a:r>
                  <a:rPr lang="en-US" sz="1400" dirty="0">
                    <a:solidFill>
                      <a:srgbClr val="FFFFFF"/>
                    </a:solidFill>
                    <a:latin typeface="Segoe UI"/>
                  </a:rPr>
                  <a:t>SSL</a:t>
                </a:r>
              </a:p>
            </p:txBody>
          </p:sp>
          <p:sp>
            <p:nvSpPr>
              <p:cNvPr id="187" name="TextBox 186"/>
              <p:cNvSpPr txBox="1"/>
              <p:nvPr/>
            </p:nvSpPr>
            <p:spPr>
              <a:xfrm>
                <a:off x="3796766" y="5147377"/>
                <a:ext cx="2353943" cy="469103"/>
              </a:xfrm>
              <a:prstGeom prst="rect">
                <a:avLst/>
              </a:prstGeom>
              <a:noFill/>
            </p:spPr>
            <p:txBody>
              <a:bodyPr wrap="square" rtlCol="0">
                <a:spAutoFit/>
              </a:bodyPr>
              <a:lstStyle/>
              <a:p>
                <a:pPr defTabSz="914225">
                  <a:defRPr/>
                </a:pPr>
                <a:r>
                  <a:rPr lang="en-US" sz="1200" b="1" dirty="0">
                    <a:solidFill>
                      <a:srgbClr val="FFFFFF"/>
                    </a:solidFill>
                    <a:latin typeface="Segoe UI"/>
                  </a:rPr>
                  <a:t>99.9 % SLA </a:t>
                </a:r>
                <a:br>
                  <a:rPr lang="en-US" sz="1200" dirty="0">
                    <a:solidFill>
                      <a:srgbClr val="FFFFFF"/>
                    </a:solidFill>
                    <a:latin typeface="Segoe UI"/>
                  </a:rPr>
                </a:br>
                <a:r>
                  <a:rPr lang="en-US" sz="1200" dirty="0">
                    <a:solidFill>
                      <a:srgbClr val="FFFFFF"/>
                    </a:solidFill>
                    <a:latin typeface="Segoe UI"/>
                  </a:rPr>
                  <a:t>at general availability</a:t>
                </a:r>
              </a:p>
            </p:txBody>
          </p:sp>
          <p:cxnSp>
            <p:nvCxnSpPr>
              <p:cNvPr id="188" name="Straight Connector 187"/>
              <p:cNvCxnSpPr/>
              <p:nvPr/>
            </p:nvCxnSpPr>
            <p:spPr>
              <a:xfrm>
                <a:off x="3267640" y="3072775"/>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3267640" y="3721969"/>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3267640" y="4371163"/>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3267640" y="5020358"/>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pic>
        <p:nvPicPr>
          <p:cNvPr id="192" name="Picture 191"/>
          <p:cNvPicPr>
            <a:picLocks noChangeAspect="1"/>
          </p:cNvPicPr>
          <p:nvPr/>
        </p:nvPicPr>
        <p:blipFill>
          <a:blip r:embed="rId5"/>
          <a:stretch>
            <a:fillRect/>
          </a:stretch>
        </p:blipFill>
        <p:spPr>
          <a:xfrm>
            <a:off x="4816813" y="4774652"/>
            <a:ext cx="365708" cy="365708"/>
          </a:xfrm>
          <a:prstGeom prst="rect">
            <a:avLst/>
          </a:prstGeom>
        </p:spPr>
      </p:pic>
      <p:pic>
        <p:nvPicPr>
          <p:cNvPr id="193" name="Picture 192"/>
          <p:cNvPicPr>
            <a:picLocks noChangeAspect="1"/>
          </p:cNvPicPr>
          <p:nvPr/>
        </p:nvPicPr>
        <p:blipFill>
          <a:blip r:embed="rId6"/>
          <a:stretch>
            <a:fillRect/>
          </a:stretch>
        </p:blipFill>
        <p:spPr>
          <a:xfrm>
            <a:off x="4804623" y="4063117"/>
            <a:ext cx="365708" cy="365708"/>
          </a:xfrm>
          <a:prstGeom prst="rect">
            <a:avLst/>
          </a:prstGeom>
        </p:spPr>
      </p:pic>
      <p:pic>
        <p:nvPicPr>
          <p:cNvPr id="194" name="Picture 193"/>
          <p:cNvPicPr>
            <a:picLocks noChangeAspect="1"/>
          </p:cNvPicPr>
          <p:nvPr/>
        </p:nvPicPr>
        <p:blipFill>
          <a:blip r:embed="rId7"/>
          <a:stretch>
            <a:fillRect/>
          </a:stretch>
        </p:blipFill>
        <p:spPr>
          <a:xfrm>
            <a:off x="4804623" y="3431609"/>
            <a:ext cx="365708" cy="365708"/>
          </a:xfrm>
          <a:prstGeom prst="rect">
            <a:avLst/>
          </a:prstGeom>
        </p:spPr>
      </p:pic>
      <p:sp>
        <p:nvSpPr>
          <p:cNvPr id="2" name="TextBox 1"/>
          <p:cNvSpPr txBox="1"/>
          <p:nvPr/>
        </p:nvSpPr>
        <p:spPr>
          <a:xfrm>
            <a:off x="9257262" y="1372339"/>
            <a:ext cx="424437" cy="633625"/>
          </a:xfrm>
          <a:prstGeom prst="rect">
            <a:avLst/>
          </a:prstGeom>
          <a:noFill/>
        </p:spPr>
        <p:txBody>
          <a:bodyPr wrap="square" rtlCol="0">
            <a:spAutoFit/>
          </a:bodyPr>
          <a:lstStyle/>
          <a:p>
            <a:pPr algn="ctr" defTabSz="914367"/>
            <a:r>
              <a:rPr lang="en-US" sz="3529" dirty="0">
                <a:solidFill>
                  <a:srgbClr val="0078D7"/>
                </a:solidFill>
                <a:latin typeface="Segoe UI"/>
              </a:rPr>
              <a:t>…</a:t>
            </a:r>
          </a:p>
        </p:txBody>
      </p:sp>
      <p:sp>
        <p:nvSpPr>
          <p:cNvPr id="196" name="Rectangle 195"/>
          <p:cNvSpPr/>
          <p:nvPr/>
        </p:nvSpPr>
        <p:spPr>
          <a:xfrm>
            <a:off x="154479" y="5892451"/>
            <a:ext cx="2185829" cy="443453"/>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5"/>
            <a:r>
              <a:rPr lang="en-US" sz="1400" kern="0" dirty="0">
                <a:solidFill>
                  <a:srgbClr val="FFFFFF"/>
                </a:solidFill>
                <a:latin typeface="Segoe UI"/>
              </a:rPr>
              <a:t>Partitions</a:t>
            </a:r>
          </a:p>
        </p:txBody>
      </p:sp>
    </p:spTree>
    <p:extLst>
      <p:ext uri="{BB962C8B-B14F-4D97-AF65-F5344CB8AC3E}">
        <p14:creationId xmlns:p14="http://schemas.microsoft.com/office/powerpoint/2010/main" val="24049304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866" y="1041986"/>
            <a:ext cx="12190271" cy="58150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5" name="Rectangle 284"/>
          <p:cNvSpPr/>
          <p:nvPr/>
        </p:nvSpPr>
        <p:spPr bwMode="auto">
          <a:xfrm>
            <a:off x="9651793" y="4446174"/>
            <a:ext cx="2292924" cy="1608191"/>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TextBox 285"/>
          <p:cNvSpPr txBox="1"/>
          <p:nvPr/>
        </p:nvSpPr>
        <p:spPr>
          <a:xfrm>
            <a:off x="9761810" y="454576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7" name="TextBox 286"/>
          <p:cNvSpPr txBox="1"/>
          <p:nvPr/>
        </p:nvSpPr>
        <p:spPr>
          <a:xfrm>
            <a:off x="9761810" y="5281176"/>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88" name="TextBox 287"/>
          <p:cNvSpPr txBox="1"/>
          <p:nvPr/>
        </p:nvSpPr>
        <p:spPr>
          <a:xfrm>
            <a:off x="10355392" y="470774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Excel</a:t>
            </a:r>
          </a:p>
        </p:txBody>
      </p:sp>
      <p:sp>
        <p:nvSpPr>
          <p:cNvPr id="289" name="TextBox 288"/>
          <p:cNvSpPr txBox="1"/>
          <p:nvPr/>
        </p:nvSpPr>
        <p:spPr>
          <a:xfrm>
            <a:off x="10355391" y="5338447"/>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Third party</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BI tools</a:t>
            </a:r>
          </a:p>
        </p:txBody>
      </p:sp>
      <p:sp>
        <p:nvSpPr>
          <p:cNvPr id="31" name="Rectangle 30"/>
          <p:cNvSpPr/>
          <p:nvPr/>
        </p:nvSpPr>
        <p:spPr bwMode="auto">
          <a:xfrm>
            <a:off x="1488" y="5768858"/>
            <a:ext cx="12189648" cy="1009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itle 1"/>
          <p:cNvSpPr txBox="1">
            <a:spLocks/>
          </p:cNvSpPr>
          <p:nvPr/>
        </p:nvSpPr>
        <p:spPr>
          <a:xfrm>
            <a:off x="59108" y="142577"/>
            <a:ext cx="1209880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400" dirty="0">
                <a:gradFill>
                  <a:gsLst>
                    <a:gs pos="1250">
                      <a:srgbClr val="505050"/>
                    </a:gs>
                    <a:gs pos="100000">
                      <a:srgbClr val="505050"/>
                    </a:gs>
                  </a:gsLst>
                  <a:lin ang="5400000" scaled="0"/>
                </a:gradFill>
                <a:latin typeface="Segoe UI Light"/>
              </a:rPr>
              <a:t>Azure Analysis Services Architecture</a:t>
            </a:r>
          </a:p>
        </p:txBody>
      </p:sp>
      <p:sp>
        <p:nvSpPr>
          <p:cNvPr id="161" name="Rectangle 160"/>
          <p:cNvSpPr/>
          <p:nvPr/>
        </p:nvSpPr>
        <p:spPr bwMode="auto">
          <a:xfrm>
            <a:off x="1015" y="1514445"/>
            <a:ext cx="12189648" cy="871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TextBox 161"/>
          <p:cNvSpPr txBox="1"/>
          <p:nvPr/>
        </p:nvSpPr>
        <p:spPr>
          <a:xfrm>
            <a:off x="153153" y="1588056"/>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data sources</a:t>
            </a:r>
          </a:p>
        </p:txBody>
      </p:sp>
      <p:cxnSp>
        <p:nvCxnSpPr>
          <p:cNvPr id="214" name="Straight Arrow Connector 213"/>
          <p:cNvCxnSpPr/>
          <p:nvPr/>
        </p:nvCxnSpPr>
        <p:spPr>
          <a:xfrm>
            <a:off x="6418770" y="3128234"/>
            <a:ext cx="0" cy="226253"/>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72636" y="3854536"/>
            <a:ext cx="12028537" cy="0"/>
          </a:xfrm>
          <a:prstGeom prst="line">
            <a:avLst/>
          </a:prstGeom>
          <a:ln>
            <a:solidFill>
              <a:srgbClr val="002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294549" y="1989415"/>
            <a:ext cx="4445741"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TextBox 99"/>
          <p:cNvSpPr txBox="1"/>
          <p:nvPr/>
        </p:nvSpPr>
        <p:spPr>
          <a:xfrm>
            <a:off x="404566" y="2086880"/>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1" name="TextBox 100"/>
          <p:cNvSpPr txBox="1"/>
          <p:nvPr/>
        </p:nvSpPr>
        <p:spPr>
          <a:xfrm>
            <a:off x="404566" y="279329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06" name="TextBox 105"/>
          <p:cNvSpPr txBox="1"/>
          <p:nvPr/>
        </p:nvSpPr>
        <p:spPr>
          <a:xfrm>
            <a:off x="998147" y="2249146"/>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Database</a:t>
            </a:r>
          </a:p>
        </p:txBody>
      </p:sp>
      <p:sp>
        <p:nvSpPr>
          <p:cNvPr id="108" name="TextBox 107"/>
          <p:cNvSpPr txBox="1"/>
          <p:nvPr/>
        </p:nvSpPr>
        <p:spPr>
          <a:xfrm>
            <a:off x="998147" y="285057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Warehouse</a:t>
            </a:r>
          </a:p>
        </p:txBody>
      </p:sp>
      <p:sp>
        <p:nvSpPr>
          <p:cNvPr id="154" name="TextBox 153"/>
          <p:cNvSpPr txBox="1"/>
          <p:nvPr/>
        </p:nvSpPr>
        <p:spPr>
          <a:xfrm>
            <a:off x="523123" y="2173011"/>
            <a:ext cx="423773" cy="464555"/>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0078D7"/>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59" name="Freeform 258"/>
          <p:cNvSpPr/>
          <p:nvPr/>
        </p:nvSpPr>
        <p:spPr bwMode="auto">
          <a:xfrm flipH="1">
            <a:off x="490208" y="2870142"/>
            <a:ext cx="489605" cy="46812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505050"/>
              </a:solidFill>
              <a:latin typeface="Segoe UI Light"/>
              <a:ea typeface="Segoe UI" pitchFamily="34" charset="0"/>
              <a:cs typeface="Segoe UI" pitchFamily="34" charset="0"/>
            </a:endParaRPr>
          </a:p>
        </p:txBody>
      </p:sp>
      <p:sp>
        <p:nvSpPr>
          <p:cNvPr id="263" name="TextBox 262"/>
          <p:cNvSpPr txBox="1"/>
          <p:nvPr/>
        </p:nvSpPr>
        <p:spPr>
          <a:xfrm>
            <a:off x="4746240" y="246540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264" name="TextBox 263"/>
          <p:cNvSpPr txBox="1"/>
          <p:nvPr/>
        </p:nvSpPr>
        <p:spPr>
          <a:xfrm>
            <a:off x="4746240" y="2803898"/>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grpSp>
        <p:nvGrpSpPr>
          <p:cNvPr id="215" name="Group 4"/>
          <p:cNvGrpSpPr>
            <a:grpSpLocks noChangeAspect="1"/>
          </p:cNvGrpSpPr>
          <p:nvPr/>
        </p:nvGrpSpPr>
        <p:grpSpPr bwMode="auto">
          <a:xfrm>
            <a:off x="6095107" y="3530612"/>
            <a:ext cx="647326" cy="648883"/>
            <a:chOff x="3826" y="3056"/>
            <a:chExt cx="416" cy="417"/>
          </a:xfrm>
        </p:grpSpPr>
        <p:sp>
          <p:nvSpPr>
            <p:cNvPr id="21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67" name="Freeform 266"/>
          <p:cNvSpPr>
            <a:spLocks noChangeAspect="1"/>
          </p:cNvSpPr>
          <p:nvPr/>
        </p:nvSpPr>
        <p:spPr bwMode="black">
          <a:xfrm>
            <a:off x="11151161" y="1136388"/>
            <a:ext cx="760772" cy="44992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73" name="Rectangle 272"/>
          <p:cNvSpPr/>
          <p:nvPr/>
        </p:nvSpPr>
        <p:spPr bwMode="auto">
          <a:xfrm>
            <a:off x="9651793" y="1983324"/>
            <a:ext cx="2292924"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4" name="TextBox 273"/>
          <p:cNvSpPr txBox="1"/>
          <p:nvPr/>
        </p:nvSpPr>
        <p:spPr>
          <a:xfrm>
            <a:off x="9761810" y="208291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5" name="TextBox 274"/>
          <p:cNvSpPr txBox="1"/>
          <p:nvPr/>
        </p:nvSpPr>
        <p:spPr>
          <a:xfrm>
            <a:off x="9761810" y="278720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76" name="TextBox 275"/>
          <p:cNvSpPr txBox="1"/>
          <p:nvPr/>
        </p:nvSpPr>
        <p:spPr>
          <a:xfrm>
            <a:off x="10355392" y="2244900"/>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p>
        </p:txBody>
      </p:sp>
      <p:sp>
        <p:nvSpPr>
          <p:cNvPr id="277" name="TextBox 276"/>
          <p:cNvSpPr txBox="1"/>
          <p:nvPr/>
        </p:nvSpPr>
        <p:spPr>
          <a:xfrm>
            <a:off x="10355391" y="2844480"/>
            <a:ext cx="151999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Embedded</a:t>
            </a:r>
          </a:p>
        </p:txBody>
      </p:sp>
      <p:sp>
        <p:nvSpPr>
          <p:cNvPr id="280" name="Rectangle 279"/>
          <p:cNvSpPr/>
          <p:nvPr/>
        </p:nvSpPr>
        <p:spPr bwMode="auto">
          <a:xfrm>
            <a:off x="288822" y="4470042"/>
            <a:ext cx="4451467" cy="1584324"/>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TextBox 28"/>
          <p:cNvSpPr txBox="1"/>
          <p:nvPr/>
        </p:nvSpPr>
        <p:spPr>
          <a:xfrm>
            <a:off x="393729" y="4573751"/>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0" name="TextBox 169"/>
          <p:cNvSpPr txBox="1"/>
          <p:nvPr/>
        </p:nvSpPr>
        <p:spPr>
          <a:xfrm>
            <a:off x="886668" y="4736613"/>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SQL Server</a:t>
            </a:r>
          </a:p>
        </p:txBody>
      </p:sp>
      <p:grpSp>
        <p:nvGrpSpPr>
          <p:cNvPr id="173" name="Group 30"/>
          <p:cNvGrpSpPr>
            <a:grpSpLocks noChangeAspect="1"/>
          </p:cNvGrpSpPr>
          <p:nvPr/>
        </p:nvGrpSpPr>
        <p:grpSpPr bwMode="auto">
          <a:xfrm>
            <a:off x="503866" y="4664184"/>
            <a:ext cx="339591" cy="446539"/>
            <a:chOff x="2455" y="3797"/>
            <a:chExt cx="308" cy="405"/>
          </a:xfrm>
        </p:grpSpPr>
        <p:sp>
          <p:nvSpPr>
            <p:cNvPr id="174"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5"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176"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7"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8"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79"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0"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1" name="Freeform 37"/>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2" name="Freeform 38"/>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83" name="Freeform 39"/>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30" name="TextBox 29"/>
          <p:cNvSpPr txBox="1"/>
          <p:nvPr/>
        </p:nvSpPr>
        <p:spPr>
          <a:xfrm>
            <a:off x="2576723" y="4573751"/>
            <a:ext cx="2061485" cy="1338989"/>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72" name="TextBox 171"/>
          <p:cNvSpPr txBox="1"/>
          <p:nvPr/>
        </p:nvSpPr>
        <p:spPr>
          <a:xfrm>
            <a:off x="3041334" y="4631022"/>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ata sources</a:t>
            </a:r>
          </a:p>
        </p:txBody>
      </p:sp>
      <p:grpSp>
        <p:nvGrpSpPr>
          <p:cNvPr id="205" name="Group 30"/>
          <p:cNvGrpSpPr>
            <a:grpSpLocks noChangeAspect="1"/>
          </p:cNvGrpSpPr>
          <p:nvPr/>
        </p:nvGrpSpPr>
        <p:grpSpPr bwMode="auto">
          <a:xfrm>
            <a:off x="2688504" y="4664184"/>
            <a:ext cx="339591" cy="446539"/>
            <a:chOff x="2455" y="3797"/>
            <a:chExt cx="308" cy="405"/>
          </a:xfrm>
        </p:grpSpPr>
        <p:sp>
          <p:nvSpPr>
            <p:cNvPr id="206"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7"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8"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9"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0"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1"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2"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9" name="Group 8"/>
          <p:cNvGrpSpPr/>
          <p:nvPr/>
        </p:nvGrpSpPr>
        <p:grpSpPr>
          <a:xfrm>
            <a:off x="9815745" y="5433211"/>
            <a:ext cx="539646" cy="346337"/>
            <a:chOff x="9674359" y="5477609"/>
            <a:chExt cx="627497" cy="402718"/>
          </a:xfrm>
        </p:grpSpPr>
        <p:sp>
          <p:nvSpPr>
            <p:cNvPr id="282" name="Freeform 281"/>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0078D7"/>
            </a:solid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283" name="Freeform 33"/>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284" name="Freeform 283"/>
          <p:cNvSpPr/>
          <p:nvPr/>
        </p:nvSpPr>
        <p:spPr bwMode="auto">
          <a:xfrm>
            <a:off x="9884782" y="4655641"/>
            <a:ext cx="401570" cy="415828"/>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2" name="Rectangle 291"/>
          <p:cNvSpPr/>
          <p:nvPr/>
        </p:nvSpPr>
        <p:spPr bwMode="auto">
          <a:xfrm>
            <a:off x="7046826" y="4448440"/>
            <a:ext cx="2271087" cy="1605927"/>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3" name="TextBox 292"/>
          <p:cNvSpPr txBox="1"/>
          <p:nvPr/>
        </p:nvSpPr>
        <p:spPr>
          <a:xfrm>
            <a:off x="7148556" y="527693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294" name="TextBox 293"/>
          <p:cNvSpPr txBox="1"/>
          <p:nvPr/>
        </p:nvSpPr>
        <p:spPr>
          <a:xfrm>
            <a:off x="7696076" y="5350845"/>
            <a:ext cx="1373037" cy="522890"/>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Power BI </a:t>
            </a:r>
            <a:br>
              <a:rPr lang="en-US" sz="1371" kern="0" dirty="0">
                <a:solidFill>
                  <a:srgbClr val="0078D7"/>
                </a:solidFill>
                <a:latin typeface="Segoe UI Semibold" panose="020B0702040204020203" pitchFamily="34" charset="0"/>
                <a:cs typeface="Segoe UI Semibold" panose="020B0702040204020203" pitchFamily="34" charset="0"/>
              </a:rPr>
            </a:br>
            <a:r>
              <a:rPr lang="en-US" sz="1371" kern="0" dirty="0">
                <a:solidFill>
                  <a:srgbClr val="0078D7"/>
                </a:solidFill>
                <a:latin typeface="Segoe UI Semibold" panose="020B0702040204020203" pitchFamily="34" charset="0"/>
                <a:cs typeface="Segoe UI Semibold" panose="020B0702040204020203" pitchFamily="34" charset="0"/>
              </a:rPr>
              <a:t>Desktop</a:t>
            </a:r>
          </a:p>
        </p:txBody>
      </p:sp>
      <p:sp>
        <p:nvSpPr>
          <p:cNvPr id="306" name="TextBox 305"/>
          <p:cNvSpPr txBox="1"/>
          <p:nvPr/>
        </p:nvSpPr>
        <p:spPr>
          <a:xfrm>
            <a:off x="7153386" y="455970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309" name="TextBox 308"/>
          <p:cNvSpPr txBox="1"/>
          <p:nvPr/>
        </p:nvSpPr>
        <p:spPr>
          <a:xfrm>
            <a:off x="7672578" y="4721688"/>
            <a:ext cx="1373037" cy="30760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Visual Studio</a:t>
            </a:r>
          </a:p>
        </p:txBody>
      </p:sp>
      <p:sp>
        <p:nvSpPr>
          <p:cNvPr id="337" name="TextBox 336"/>
          <p:cNvSpPr txBox="1"/>
          <p:nvPr/>
        </p:nvSpPr>
        <p:spPr>
          <a:xfrm>
            <a:off x="6908904" y="3855070"/>
            <a:ext cx="3921319" cy="58827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Authoring and </a:t>
            </a:r>
            <a:br>
              <a:rPr lang="en-US" sz="1400" b="1" kern="0" dirty="0">
                <a:solidFill>
                  <a:srgbClr val="0078D7"/>
                </a:solidFill>
                <a:latin typeface="Segoe UI"/>
              </a:rPr>
            </a:br>
            <a:r>
              <a:rPr lang="en-US" sz="1400" b="1" kern="0" dirty="0">
                <a:solidFill>
                  <a:srgbClr val="0078D7"/>
                </a:solidFill>
                <a:latin typeface="Segoe UI"/>
              </a:rPr>
              <a:t>development tools</a:t>
            </a:r>
          </a:p>
        </p:txBody>
      </p:sp>
      <p:sp>
        <p:nvSpPr>
          <p:cNvPr id="338" name="TextBox 337"/>
          <p:cNvSpPr txBox="1"/>
          <p:nvPr/>
        </p:nvSpPr>
        <p:spPr>
          <a:xfrm>
            <a:off x="144314" y="3855069"/>
            <a:ext cx="3921319" cy="402801"/>
          </a:xfrm>
          <a:prstGeom prst="rect">
            <a:avLst/>
          </a:prstGeom>
          <a:noFill/>
        </p:spPr>
        <p:txBody>
          <a:bodyPr wrap="square" lIns="179259" tIns="89630" rIns="89630" bIns="179259" rtlCol="0" anchor="t">
            <a:noAutofit/>
          </a:bodyPr>
          <a:lstStyle/>
          <a:p>
            <a:pPr defTabSz="914225">
              <a:spcAft>
                <a:spcPts val="1200"/>
              </a:spcAft>
              <a:defRPr/>
            </a:pPr>
            <a:r>
              <a:rPr lang="en-US" sz="1400" b="1" kern="0" dirty="0">
                <a:solidFill>
                  <a:srgbClr val="0078D7"/>
                </a:solidFill>
                <a:latin typeface="Segoe UI"/>
              </a:rPr>
              <a:t>On-premises </a:t>
            </a:r>
            <a:br>
              <a:rPr lang="en-US" sz="1400" b="1" kern="0" dirty="0">
                <a:solidFill>
                  <a:srgbClr val="0078D7"/>
                </a:solidFill>
                <a:latin typeface="Segoe UI"/>
              </a:rPr>
            </a:br>
            <a:r>
              <a:rPr lang="en-US" sz="1400" b="1" kern="0" dirty="0">
                <a:solidFill>
                  <a:srgbClr val="0078D7"/>
                </a:solidFill>
                <a:latin typeface="Segoe UI"/>
              </a:rPr>
              <a:t>data sources</a:t>
            </a:r>
          </a:p>
        </p:txBody>
      </p:sp>
      <p:grpSp>
        <p:nvGrpSpPr>
          <p:cNvPr id="340" name="Group 339"/>
          <p:cNvGrpSpPr/>
          <p:nvPr/>
        </p:nvGrpSpPr>
        <p:grpSpPr>
          <a:xfrm>
            <a:off x="11295061" y="6066106"/>
            <a:ext cx="569782" cy="706461"/>
            <a:chOff x="3331021" y="4536309"/>
            <a:chExt cx="1058862" cy="1312862"/>
          </a:xfrm>
        </p:grpSpPr>
        <p:sp>
          <p:nvSpPr>
            <p:cNvPr id="341" name="AutoShape 169"/>
            <p:cNvSpPr>
              <a:spLocks noChangeAspect="1" noChangeArrowheads="1" noTextEdit="1"/>
            </p:cNvSpPr>
            <p:nvPr/>
          </p:nvSpPr>
          <p:spPr bwMode="auto">
            <a:xfrm>
              <a:off x="3331021" y="4536309"/>
              <a:ext cx="1058862"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2" name="Rectangle 171"/>
            <p:cNvSpPr>
              <a:spLocks noChangeArrowheads="1"/>
            </p:cNvSpPr>
            <p:nvPr/>
          </p:nvSpPr>
          <p:spPr bwMode="auto">
            <a:xfrm>
              <a:off x="3464371" y="4903021"/>
              <a:ext cx="185737" cy="185737"/>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3" name="Rectangle 172"/>
            <p:cNvSpPr>
              <a:spLocks noChangeArrowheads="1"/>
            </p:cNvSpPr>
            <p:nvPr/>
          </p:nvSpPr>
          <p:spPr bwMode="auto">
            <a:xfrm>
              <a:off x="3572322" y="4665051"/>
              <a:ext cx="293687" cy="290358"/>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4" name="Rectangle 173"/>
            <p:cNvSpPr>
              <a:spLocks noChangeArrowheads="1"/>
            </p:cNvSpPr>
            <p:nvPr/>
          </p:nvSpPr>
          <p:spPr bwMode="auto">
            <a:xfrm>
              <a:off x="3866009" y="4665050"/>
              <a:ext cx="163513" cy="1184121"/>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5" name="Rectangle 174"/>
            <p:cNvSpPr>
              <a:spLocks noChangeArrowheads="1"/>
            </p:cNvSpPr>
            <p:nvPr/>
          </p:nvSpPr>
          <p:spPr bwMode="auto">
            <a:xfrm>
              <a:off x="3572321" y="4955409"/>
              <a:ext cx="319087" cy="8937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6" name="Rectangle 175"/>
            <p:cNvSpPr>
              <a:spLocks noChangeArrowheads="1"/>
            </p:cNvSpPr>
            <p:nvPr/>
          </p:nvSpPr>
          <p:spPr bwMode="auto">
            <a:xfrm>
              <a:off x="3650108" y="4903021"/>
              <a:ext cx="168275" cy="7461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7" name="Rectangle 176"/>
            <p:cNvSpPr>
              <a:spLocks noChangeArrowheads="1"/>
            </p:cNvSpPr>
            <p:nvPr/>
          </p:nvSpPr>
          <p:spPr bwMode="auto">
            <a:xfrm>
              <a:off x="3331021" y="4955409"/>
              <a:ext cx="241300" cy="8937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8" name="Rectangle 177"/>
            <p:cNvSpPr>
              <a:spLocks noChangeArrowheads="1"/>
            </p:cNvSpPr>
            <p:nvPr/>
          </p:nvSpPr>
          <p:spPr bwMode="auto">
            <a:xfrm>
              <a:off x="3616771"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49" name="Rectangle 178"/>
            <p:cNvSpPr>
              <a:spLocks noChangeArrowheads="1"/>
            </p:cNvSpPr>
            <p:nvPr/>
          </p:nvSpPr>
          <p:spPr bwMode="auto">
            <a:xfrm>
              <a:off x="3683446"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0" name="Rectangle 179"/>
            <p:cNvSpPr>
              <a:spLocks noChangeArrowheads="1"/>
            </p:cNvSpPr>
            <p:nvPr/>
          </p:nvSpPr>
          <p:spPr bwMode="auto">
            <a:xfrm>
              <a:off x="3750121" y="499192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1" name="Rectangle 180"/>
            <p:cNvSpPr>
              <a:spLocks noChangeArrowheads="1"/>
            </p:cNvSpPr>
            <p:nvPr/>
          </p:nvSpPr>
          <p:spPr bwMode="auto">
            <a:xfrm>
              <a:off x="3818383"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2" name="Rectangle 181"/>
            <p:cNvSpPr>
              <a:spLocks noChangeArrowheads="1"/>
            </p:cNvSpPr>
            <p:nvPr/>
          </p:nvSpPr>
          <p:spPr bwMode="auto">
            <a:xfrm>
              <a:off x="3616771"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3" name="Rectangle 182"/>
            <p:cNvSpPr>
              <a:spLocks noChangeArrowheads="1"/>
            </p:cNvSpPr>
            <p:nvPr/>
          </p:nvSpPr>
          <p:spPr bwMode="auto">
            <a:xfrm>
              <a:off x="3683446"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4" name="Rectangle 183"/>
            <p:cNvSpPr>
              <a:spLocks noChangeArrowheads="1"/>
            </p:cNvSpPr>
            <p:nvPr/>
          </p:nvSpPr>
          <p:spPr bwMode="auto">
            <a:xfrm>
              <a:off x="3750121" y="512527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5" name="Rectangle 184"/>
            <p:cNvSpPr>
              <a:spLocks noChangeArrowheads="1"/>
            </p:cNvSpPr>
            <p:nvPr/>
          </p:nvSpPr>
          <p:spPr bwMode="auto">
            <a:xfrm>
              <a:off x="3818383"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6" name="Rectangle 185"/>
            <p:cNvSpPr>
              <a:spLocks noChangeArrowheads="1"/>
            </p:cNvSpPr>
            <p:nvPr/>
          </p:nvSpPr>
          <p:spPr bwMode="auto">
            <a:xfrm>
              <a:off x="3616771"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7" name="Rectangle 186"/>
            <p:cNvSpPr>
              <a:spLocks noChangeArrowheads="1"/>
            </p:cNvSpPr>
            <p:nvPr/>
          </p:nvSpPr>
          <p:spPr bwMode="auto">
            <a:xfrm>
              <a:off x="3683446"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8" name="Rectangle 187"/>
            <p:cNvSpPr>
              <a:spLocks noChangeArrowheads="1"/>
            </p:cNvSpPr>
            <p:nvPr/>
          </p:nvSpPr>
          <p:spPr bwMode="auto">
            <a:xfrm>
              <a:off x="3750121" y="52633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59" name="Rectangle 188"/>
            <p:cNvSpPr>
              <a:spLocks noChangeArrowheads="1"/>
            </p:cNvSpPr>
            <p:nvPr/>
          </p:nvSpPr>
          <p:spPr bwMode="auto">
            <a:xfrm>
              <a:off x="3818383"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0" name="Rectangle 189"/>
            <p:cNvSpPr>
              <a:spLocks noChangeArrowheads="1"/>
            </p:cNvSpPr>
            <p:nvPr/>
          </p:nvSpPr>
          <p:spPr bwMode="auto">
            <a:xfrm>
              <a:off x="3616771"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1" name="Rectangle 190"/>
            <p:cNvSpPr>
              <a:spLocks noChangeArrowheads="1"/>
            </p:cNvSpPr>
            <p:nvPr/>
          </p:nvSpPr>
          <p:spPr bwMode="auto">
            <a:xfrm>
              <a:off x="368344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2" name="Rectangle 191"/>
            <p:cNvSpPr>
              <a:spLocks noChangeArrowheads="1"/>
            </p:cNvSpPr>
            <p:nvPr/>
          </p:nvSpPr>
          <p:spPr bwMode="auto">
            <a:xfrm>
              <a:off x="3750121" y="53967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3" name="Rectangle 192"/>
            <p:cNvSpPr>
              <a:spLocks noChangeArrowheads="1"/>
            </p:cNvSpPr>
            <p:nvPr/>
          </p:nvSpPr>
          <p:spPr bwMode="auto">
            <a:xfrm>
              <a:off x="3818383"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4" name="Rectangle 193"/>
            <p:cNvSpPr>
              <a:spLocks noChangeArrowheads="1"/>
            </p:cNvSpPr>
            <p:nvPr/>
          </p:nvSpPr>
          <p:spPr bwMode="auto">
            <a:xfrm>
              <a:off x="3616771"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5" name="Rectangle 194"/>
            <p:cNvSpPr>
              <a:spLocks noChangeArrowheads="1"/>
            </p:cNvSpPr>
            <p:nvPr/>
          </p:nvSpPr>
          <p:spPr bwMode="auto">
            <a:xfrm>
              <a:off x="368344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6" name="Rectangle 195"/>
            <p:cNvSpPr>
              <a:spLocks noChangeArrowheads="1"/>
            </p:cNvSpPr>
            <p:nvPr/>
          </p:nvSpPr>
          <p:spPr bwMode="auto">
            <a:xfrm>
              <a:off x="3750121" y="55300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7" name="Rectangle 196"/>
            <p:cNvSpPr>
              <a:spLocks noChangeArrowheads="1"/>
            </p:cNvSpPr>
            <p:nvPr/>
          </p:nvSpPr>
          <p:spPr bwMode="auto">
            <a:xfrm>
              <a:off x="3818383"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8" name="Rectangle 197"/>
            <p:cNvSpPr>
              <a:spLocks noChangeArrowheads="1"/>
            </p:cNvSpPr>
            <p:nvPr/>
          </p:nvSpPr>
          <p:spPr bwMode="auto">
            <a:xfrm>
              <a:off x="3616771"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69" name="Rectangle 198"/>
            <p:cNvSpPr>
              <a:spLocks noChangeArrowheads="1"/>
            </p:cNvSpPr>
            <p:nvPr/>
          </p:nvSpPr>
          <p:spPr bwMode="auto">
            <a:xfrm>
              <a:off x="368344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0" name="Rectangle 199"/>
            <p:cNvSpPr>
              <a:spLocks noChangeArrowheads="1"/>
            </p:cNvSpPr>
            <p:nvPr/>
          </p:nvSpPr>
          <p:spPr bwMode="auto">
            <a:xfrm>
              <a:off x="3427858"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1" name="Rectangle 200"/>
            <p:cNvSpPr>
              <a:spLocks noChangeArrowheads="1"/>
            </p:cNvSpPr>
            <p:nvPr/>
          </p:nvSpPr>
          <p:spPr bwMode="auto">
            <a:xfrm>
              <a:off x="349453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2" name="Rectangle 201"/>
            <p:cNvSpPr>
              <a:spLocks noChangeArrowheads="1"/>
            </p:cNvSpPr>
            <p:nvPr/>
          </p:nvSpPr>
          <p:spPr bwMode="auto">
            <a:xfrm>
              <a:off x="3427858"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3" name="Rectangle 202"/>
            <p:cNvSpPr>
              <a:spLocks noChangeArrowheads="1"/>
            </p:cNvSpPr>
            <p:nvPr/>
          </p:nvSpPr>
          <p:spPr bwMode="auto">
            <a:xfrm>
              <a:off x="349453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4" name="Rectangle 203"/>
            <p:cNvSpPr>
              <a:spLocks noChangeArrowheads="1"/>
            </p:cNvSpPr>
            <p:nvPr/>
          </p:nvSpPr>
          <p:spPr bwMode="auto">
            <a:xfrm>
              <a:off x="3427858"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5" name="Rectangle 204"/>
            <p:cNvSpPr>
              <a:spLocks noChangeArrowheads="1"/>
            </p:cNvSpPr>
            <p:nvPr/>
          </p:nvSpPr>
          <p:spPr bwMode="auto">
            <a:xfrm>
              <a:off x="349453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6" name="Rectangle 205"/>
            <p:cNvSpPr>
              <a:spLocks noChangeArrowheads="1"/>
            </p:cNvSpPr>
            <p:nvPr/>
          </p:nvSpPr>
          <p:spPr bwMode="auto">
            <a:xfrm>
              <a:off x="342785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7" name="Rectangle 206"/>
            <p:cNvSpPr>
              <a:spLocks noChangeArrowheads="1"/>
            </p:cNvSpPr>
            <p:nvPr/>
          </p:nvSpPr>
          <p:spPr bwMode="auto">
            <a:xfrm>
              <a:off x="349453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8" name="Rectangle 207"/>
            <p:cNvSpPr>
              <a:spLocks noChangeArrowheads="1"/>
            </p:cNvSpPr>
            <p:nvPr/>
          </p:nvSpPr>
          <p:spPr bwMode="auto">
            <a:xfrm>
              <a:off x="342785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79" name="Rectangle 208"/>
            <p:cNvSpPr>
              <a:spLocks noChangeArrowheads="1"/>
            </p:cNvSpPr>
            <p:nvPr/>
          </p:nvSpPr>
          <p:spPr bwMode="auto">
            <a:xfrm>
              <a:off x="349453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0" name="Rectangle 209"/>
            <p:cNvSpPr>
              <a:spLocks noChangeArrowheads="1"/>
            </p:cNvSpPr>
            <p:nvPr/>
          </p:nvSpPr>
          <p:spPr bwMode="auto">
            <a:xfrm>
              <a:off x="342785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1" name="Rectangle 210"/>
            <p:cNvSpPr>
              <a:spLocks noChangeArrowheads="1"/>
            </p:cNvSpPr>
            <p:nvPr/>
          </p:nvSpPr>
          <p:spPr bwMode="auto">
            <a:xfrm>
              <a:off x="349453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2" name="Rectangle 211"/>
            <p:cNvSpPr>
              <a:spLocks noChangeArrowheads="1"/>
            </p:cNvSpPr>
            <p:nvPr/>
          </p:nvSpPr>
          <p:spPr bwMode="auto">
            <a:xfrm>
              <a:off x="336118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3" name="Rectangle 212"/>
            <p:cNvSpPr>
              <a:spLocks noChangeArrowheads="1"/>
            </p:cNvSpPr>
            <p:nvPr/>
          </p:nvSpPr>
          <p:spPr bwMode="auto">
            <a:xfrm>
              <a:off x="336118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4" name="Rectangle 213"/>
            <p:cNvSpPr>
              <a:spLocks noChangeArrowheads="1"/>
            </p:cNvSpPr>
            <p:nvPr/>
          </p:nvSpPr>
          <p:spPr bwMode="auto">
            <a:xfrm>
              <a:off x="336118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5" name="Rectangle 214"/>
            <p:cNvSpPr>
              <a:spLocks noChangeArrowheads="1"/>
            </p:cNvSpPr>
            <p:nvPr/>
          </p:nvSpPr>
          <p:spPr bwMode="auto">
            <a:xfrm>
              <a:off x="336118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6" name="Rectangle 215"/>
            <p:cNvSpPr>
              <a:spLocks noChangeArrowheads="1"/>
            </p:cNvSpPr>
            <p:nvPr/>
          </p:nvSpPr>
          <p:spPr bwMode="auto">
            <a:xfrm>
              <a:off x="336118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7" name="Rectangle 216"/>
            <p:cNvSpPr>
              <a:spLocks noChangeArrowheads="1"/>
            </p:cNvSpPr>
            <p:nvPr/>
          </p:nvSpPr>
          <p:spPr bwMode="auto">
            <a:xfrm>
              <a:off x="336118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8" name="Rectangle 217"/>
            <p:cNvSpPr>
              <a:spLocks noChangeArrowheads="1"/>
            </p:cNvSpPr>
            <p:nvPr/>
          </p:nvSpPr>
          <p:spPr bwMode="auto">
            <a:xfrm>
              <a:off x="3750121" y="56634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89" name="Rectangle 218"/>
            <p:cNvSpPr>
              <a:spLocks noChangeArrowheads="1"/>
            </p:cNvSpPr>
            <p:nvPr/>
          </p:nvSpPr>
          <p:spPr bwMode="auto">
            <a:xfrm>
              <a:off x="3818383"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0" name="Rectangle 219"/>
            <p:cNvSpPr>
              <a:spLocks noChangeArrowheads="1"/>
            </p:cNvSpPr>
            <p:nvPr/>
          </p:nvSpPr>
          <p:spPr bwMode="auto">
            <a:xfrm>
              <a:off x="3885058" y="5293546"/>
              <a:ext cx="249237" cy="555625"/>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1" name="Rectangle 220"/>
            <p:cNvSpPr>
              <a:spLocks noChangeArrowheads="1"/>
            </p:cNvSpPr>
            <p:nvPr/>
          </p:nvSpPr>
          <p:spPr bwMode="auto">
            <a:xfrm>
              <a:off x="399300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2" name="Rectangle 221"/>
            <p:cNvSpPr>
              <a:spLocks noChangeArrowheads="1"/>
            </p:cNvSpPr>
            <p:nvPr/>
          </p:nvSpPr>
          <p:spPr bwMode="auto">
            <a:xfrm>
              <a:off x="4062858" y="53967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3" name="Rectangle 222"/>
            <p:cNvSpPr>
              <a:spLocks noChangeArrowheads="1"/>
            </p:cNvSpPr>
            <p:nvPr/>
          </p:nvSpPr>
          <p:spPr bwMode="auto">
            <a:xfrm>
              <a:off x="399300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4" name="Rectangle 223"/>
            <p:cNvSpPr>
              <a:spLocks noChangeArrowheads="1"/>
            </p:cNvSpPr>
            <p:nvPr/>
          </p:nvSpPr>
          <p:spPr bwMode="auto">
            <a:xfrm>
              <a:off x="4062858" y="553008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5" name="Rectangle 224"/>
            <p:cNvSpPr>
              <a:spLocks noChangeArrowheads="1"/>
            </p:cNvSpPr>
            <p:nvPr/>
          </p:nvSpPr>
          <p:spPr bwMode="auto">
            <a:xfrm>
              <a:off x="399300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6" name="Rectangle 225"/>
            <p:cNvSpPr>
              <a:spLocks noChangeArrowheads="1"/>
            </p:cNvSpPr>
            <p:nvPr/>
          </p:nvSpPr>
          <p:spPr bwMode="auto">
            <a:xfrm>
              <a:off x="4062858" y="56634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7" name="Rectangle 226"/>
            <p:cNvSpPr>
              <a:spLocks noChangeArrowheads="1"/>
            </p:cNvSpPr>
            <p:nvPr/>
          </p:nvSpPr>
          <p:spPr bwMode="auto">
            <a:xfrm>
              <a:off x="3924746" y="53967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8" name="Rectangle 227"/>
            <p:cNvSpPr>
              <a:spLocks noChangeArrowheads="1"/>
            </p:cNvSpPr>
            <p:nvPr/>
          </p:nvSpPr>
          <p:spPr bwMode="auto">
            <a:xfrm>
              <a:off x="3924746" y="553008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399" name="Rectangle 228"/>
            <p:cNvSpPr>
              <a:spLocks noChangeArrowheads="1"/>
            </p:cNvSpPr>
            <p:nvPr/>
          </p:nvSpPr>
          <p:spPr bwMode="auto">
            <a:xfrm>
              <a:off x="3924746" y="56634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0" name="Rectangle 229"/>
            <p:cNvSpPr>
              <a:spLocks noChangeArrowheads="1"/>
            </p:cNvSpPr>
            <p:nvPr/>
          </p:nvSpPr>
          <p:spPr bwMode="auto">
            <a:xfrm>
              <a:off x="4134296" y="5293546"/>
              <a:ext cx="252412" cy="555625"/>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1" name="Rectangle 230"/>
            <p:cNvSpPr>
              <a:spLocks noChangeArrowheads="1"/>
            </p:cNvSpPr>
            <p:nvPr/>
          </p:nvSpPr>
          <p:spPr bwMode="auto">
            <a:xfrm>
              <a:off x="4245421"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2" name="Rectangle 231"/>
            <p:cNvSpPr>
              <a:spLocks noChangeArrowheads="1"/>
            </p:cNvSpPr>
            <p:nvPr/>
          </p:nvSpPr>
          <p:spPr bwMode="auto">
            <a:xfrm>
              <a:off x="431209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3" name="Rectangle 232"/>
            <p:cNvSpPr>
              <a:spLocks noChangeArrowheads="1"/>
            </p:cNvSpPr>
            <p:nvPr/>
          </p:nvSpPr>
          <p:spPr bwMode="auto">
            <a:xfrm>
              <a:off x="4245421"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4" name="Rectangle 233"/>
            <p:cNvSpPr>
              <a:spLocks noChangeArrowheads="1"/>
            </p:cNvSpPr>
            <p:nvPr/>
          </p:nvSpPr>
          <p:spPr bwMode="auto">
            <a:xfrm>
              <a:off x="431209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5" name="Rectangle 234"/>
            <p:cNvSpPr>
              <a:spLocks noChangeArrowheads="1"/>
            </p:cNvSpPr>
            <p:nvPr/>
          </p:nvSpPr>
          <p:spPr bwMode="auto">
            <a:xfrm>
              <a:off x="4245421"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6" name="Rectangle 235"/>
            <p:cNvSpPr>
              <a:spLocks noChangeArrowheads="1"/>
            </p:cNvSpPr>
            <p:nvPr/>
          </p:nvSpPr>
          <p:spPr bwMode="auto">
            <a:xfrm>
              <a:off x="431209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7" name="Rectangle 236"/>
            <p:cNvSpPr>
              <a:spLocks noChangeArrowheads="1"/>
            </p:cNvSpPr>
            <p:nvPr/>
          </p:nvSpPr>
          <p:spPr bwMode="auto">
            <a:xfrm>
              <a:off x="4178746"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8" name="Rectangle 237"/>
            <p:cNvSpPr>
              <a:spLocks noChangeArrowheads="1"/>
            </p:cNvSpPr>
            <p:nvPr/>
          </p:nvSpPr>
          <p:spPr bwMode="auto">
            <a:xfrm>
              <a:off x="4178746"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09" name="Rectangle 238"/>
            <p:cNvSpPr>
              <a:spLocks noChangeArrowheads="1"/>
            </p:cNvSpPr>
            <p:nvPr/>
          </p:nvSpPr>
          <p:spPr bwMode="auto">
            <a:xfrm>
              <a:off x="4178746"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0" name="Rectangle 239"/>
            <p:cNvSpPr>
              <a:spLocks noChangeArrowheads="1"/>
            </p:cNvSpPr>
            <p:nvPr/>
          </p:nvSpPr>
          <p:spPr bwMode="auto">
            <a:xfrm>
              <a:off x="3993008" y="5199884"/>
              <a:ext cx="225425" cy="936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411" name="Rectangle 240"/>
            <p:cNvSpPr>
              <a:spLocks noChangeArrowheads="1"/>
            </p:cNvSpPr>
            <p:nvPr/>
          </p:nvSpPr>
          <p:spPr bwMode="auto">
            <a:xfrm>
              <a:off x="4218433" y="5199884"/>
              <a:ext cx="168275" cy="936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415" name="TextBox 414"/>
          <p:cNvSpPr txBox="1"/>
          <p:nvPr/>
        </p:nvSpPr>
        <p:spPr>
          <a:xfrm>
            <a:off x="3041333" y="5292097"/>
            <a:ext cx="897013" cy="469037"/>
          </a:xfrm>
          <a:prstGeom prst="rect">
            <a:avLst/>
          </a:prstGeom>
          <a:noFill/>
        </p:spPr>
        <p:txBody>
          <a:bodyPr wrap="square" rtlCol="0">
            <a:spAutoFit/>
          </a:bodyPr>
          <a:lstStyle/>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Teradata</a:t>
            </a:r>
          </a:p>
          <a:p>
            <a:pPr defTabSz="896214">
              <a:defRPr/>
            </a:pPr>
            <a:r>
              <a:rPr lang="en-US" sz="1200" kern="0" dirty="0">
                <a:solidFill>
                  <a:srgbClr val="0078D7"/>
                </a:solidFill>
                <a:latin typeface="Segoe UI Semibold" panose="020B0702040204020203" pitchFamily="34" charset="0"/>
                <a:cs typeface="Segoe UI Semibold" panose="020B0702040204020203" pitchFamily="34" charset="0"/>
              </a:rPr>
              <a:t>Oracle</a:t>
            </a:r>
          </a:p>
        </p:txBody>
      </p:sp>
      <p:cxnSp>
        <p:nvCxnSpPr>
          <p:cNvPr id="416" name="Straight Arrow Connector 415"/>
          <p:cNvCxnSpPr/>
          <p:nvPr/>
        </p:nvCxnSpPr>
        <p:spPr>
          <a:xfrm flipH="1">
            <a:off x="4829005" y="5271049"/>
            <a:ext cx="1594622" cy="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Arrow Connector 416"/>
          <p:cNvCxnSpPr/>
          <p:nvPr/>
        </p:nvCxnSpPr>
        <p:spPr>
          <a:xfrm flipV="1">
            <a:off x="6418770" y="4241231"/>
            <a:ext cx="0" cy="1029819"/>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8" name="TextBox 417"/>
          <p:cNvSpPr txBox="1"/>
          <p:nvPr/>
        </p:nvSpPr>
        <p:spPr>
          <a:xfrm>
            <a:off x="4746240" y="4980476"/>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Direct Query</a:t>
            </a:r>
          </a:p>
        </p:txBody>
      </p:sp>
      <p:sp>
        <p:nvSpPr>
          <p:cNvPr id="419" name="TextBox 418"/>
          <p:cNvSpPr txBox="1"/>
          <p:nvPr/>
        </p:nvSpPr>
        <p:spPr>
          <a:xfrm>
            <a:off x="4746240" y="5318967"/>
            <a:ext cx="1767827" cy="253751"/>
          </a:xfrm>
          <a:prstGeom prst="rect">
            <a:avLst/>
          </a:prstGeom>
          <a:noFill/>
        </p:spPr>
        <p:txBody>
          <a:bodyPr wrap="square" rtlCol="0">
            <a:spAutoFit/>
          </a:bodyPr>
          <a:lstStyle/>
          <a:p>
            <a:pPr defTabSz="914225">
              <a:defRPr/>
            </a:pPr>
            <a:r>
              <a:rPr lang="en-US" sz="1028" b="1" kern="0" dirty="0">
                <a:solidFill>
                  <a:sysClr val="windowText" lastClr="000000"/>
                </a:solidFill>
                <a:latin typeface="Segoe UI"/>
              </a:rPr>
              <a:t>Cached Model</a:t>
            </a:r>
          </a:p>
        </p:txBody>
      </p:sp>
      <p:cxnSp>
        <p:nvCxnSpPr>
          <p:cNvPr id="420" name="Straight Arrow Connector 419"/>
          <p:cNvCxnSpPr/>
          <p:nvPr/>
        </p:nvCxnSpPr>
        <p:spPr>
          <a:xfrm>
            <a:off x="7279567" y="2955283"/>
            <a:ext cx="0" cy="890157"/>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4" name="Freeform 13"/>
          <p:cNvSpPr>
            <a:spLocks noChangeAspect="1" noEditPoints="1"/>
          </p:cNvSpPr>
          <p:nvPr/>
        </p:nvSpPr>
        <p:spPr bwMode="black">
          <a:xfrm>
            <a:off x="7259524" y="4689167"/>
            <a:ext cx="375015" cy="375484"/>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sp>
        <p:nvSpPr>
          <p:cNvPr id="425" name="TextBox 424"/>
          <p:cNvSpPr txBox="1"/>
          <p:nvPr/>
        </p:nvSpPr>
        <p:spPr>
          <a:xfrm>
            <a:off x="6023337" y="3306195"/>
            <a:ext cx="782392" cy="253751"/>
          </a:xfrm>
          <a:prstGeom prst="rect">
            <a:avLst/>
          </a:prstGeom>
          <a:noFill/>
        </p:spPr>
        <p:txBody>
          <a:bodyPr wrap="square" rtlCol="0">
            <a:spAutoFit/>
          </a:bodyPr>
          <a:lstStyle/>
          <a:p>
            <a:pPr algn="ctr" defTabSz="914225">
              <a:defRPr/>
            </a:pPr>
            <a:r>
              <a:rPr lang="en-US" sz="1028" b="1" kern="0" dirty="0">
                <a:solidFill>
                  <a:srgbClr val="0078D7"/>
                </a:solidFill>
                <a:latin typeface="Segoe UI"/>
              </a:rPr>
              <a:t>Gateway</a:t>
            </a:r>
          </a:p>
        </p:txBody>
      </p:sp>
      <p:sp>
        <p:nvSpPr>
          <p:cNvPr id="427" name="TextBox 426"/>
          <p:cNvSpPr txBox="1"/>
          <p:nvPr/>
        </p:nvSpPr>
        <p:spPr>
          <a:xfrm>
            <a:off x="9499813" y="1405553"/>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Cloud </a:t>
            </a:r>
            <a:br>
              <a:rPr lang="en-US" sz="1400" b="1" kern="0" dirty="0">
                <a:solidFill>
                  <a:srgbClr val="0078D7"/>
                </a:solidFill>
                <a:latin typeface="Segoe UI"/>
              </a:rPr>
            </a:br>
            <a:r>
              <a:rPr lang="en-US" sz="1400" b="1" kern="0" dirty="0">
                <a:solidFill>
                  <a:srgbClr val="0078D7"/>
                </a:solidFill>
                <a:latin typeface="Segoe UI"/>
              </a:rPr>
              <a:t>visualization tools</a:t>
            </a:r>
          </a:p>
        </p:txBody>
      </p:sp>
      <p:sp>
        <p:nvSpPr>
          <p:cNvPr id="428" name="TextBox 427"/>
          <p:cNvSpPr txBox="1"/>
          <p:nvPr/>
        </p:nvSpPr>
        <p:spPr>
          <a:xfrm>
            <a:off x="9499813" y="3855070"/>
            <a:ext cx="2472252" cy="408904"/>
          </a:xfrm>
          <a:prstGeom prst="rect">
            <a:avLst/>
          </a:prstGeom>
          <a:noFill/>
        </p:spPr>
        <p:txBody>
          <a:bodyPr wrap="square" lIns="179259" tIns="89630" rIns="89630" bIns="179259" rtlCol="0" anchor="t">
            <a:noAutofit/>
          </a:bodyPr>
          <a:lstStyle/>
          <a:p>
            <a:pPr defTabSz="896214">
              <a:spcAft>
                <a:spcPts val="588"/>
              </a:spcAft>
              <a:defRPr/>
            </a:pPr>
            <a:r>
              <a:rPr lang="en-US" sz="1400" b="1" kern="0" dirty="0">
                <a:solidFill>
                  <a:srgbClr val="0078D7"/>
                </a:solidFill>
                <a:latin typeface="Segoe UI"/>
              </a:rPr>
              <a:t>On-premises  visualization tools</a:t>
            </a:r>
          </a:p>
        </p:txBody>
      </p:sp>
      <p:sp>
        <p:nvSpPr>
          <p:cNvPr id="47" name="Rectangle 46"/>
          <p:cNvSpPr/>
          <p:nvPr/>
        </p:nvSpPr>
        <p:spPr>
          <a:xfrm>
            <a:off x="5604482" y="1859209"/>
            <a:ext cx="1620989" cy="415183"/>
          </a:xfrm>
          <a:prstGeom prst="rect">
            <a:avLst/>
          </a:prstGeom>
        </p:spPr>
        <p:txBody>
          <a:bodyPr wrap="square">
            <a:spAutoFit/>
          </a:bodyPr>
          <a:lstStyle/>
          <a:p>
            <a:pPr algn="ctr" defTabSz="896214">
              <a:defRPr/>
            </a:pPr>
            <a:r>
              <a:rPr lang="en-US" sz="1028" b="1" kern="0" dirty="0">
                <a:solidFill>
                  <a:srgbClr val="0078D7"/>
                </a:solidFill>
                <a:latin typeface="Segoe UI"/>
              </a:rPr>
              <a:t>Azure </a:t>
            </a:r>
            <a:br>
              <a:rPr lang="en-US" sz="1028" b="1" kern="0" dirty="0">
                <a:solidFill>
                  <a:srgbClr val="0078D7"/>
                </a:solidFill>
                <a:latin typeface="Segoe UI"/>
              </a:rPr>
            </a:br>
            <a:r>
              <a:rPr lang="en-US" sz="1028" b="1" kern="0" dirty="0">
                <a:solidFill>
                  <a:srgbClr val="0078D7"/>
                </a:solidFill>
                <a:latin typeface="Segoe UI"/>
              </a:rPr>
              <a:t>Analysis Services</a:t>
            </a:r>
          </a:p>
        </p:txBody>
      </p:sp>
      <p:cxnSp>
        <p:nvCxnSpPr>
          <p:cNvPr id="224" name="Straight Arrow Connector 223"/>
          <p:cNvCxnSpPr/>
          <p:nvPr/>
        </p:nvCxnSpPr>
        <p:spPr>
          <a:xfrm>
            <a:off x="9409535" y="5224343"/>
            <a:ext cx="182854" cy="1"/>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flipH="1" flipV="1">
            <a:off x="9396479" y="2752060"/>
            <a:ext cx="8894" cy="247909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046825" y="2754282"/>
            <a:ext cx="2492229"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29" name="Freeform 428"/>
          <p:cNvSpPr>
            <a:spLocks noChangeAspect="1"/>
          </p:cNvSpPr>
          <p:nvPr/>
        </p:nvSpPr>
        <p:spPr bwMode="black">
          <a:xfrm>
            <a:off x="5744667" y="2273869"/>
            <a:ext cx="1391350" cy="82284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cxnSp>
        <p:nvCxnSpPr>
          <p:cNvPr id="265" name="Straight Arrow Connector 264"/>
          <p:cNvCxnSpPr/>
          <p:nvPr/>
        </p:nvCxnSpPr>
        <p:spPr>
          <a:xfrm flipH="1">
            <a:off x="4819907" y="2754282"/>
            <a:ext cx="973050"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1" name="Straight Arrow Connector 420"/>
          <p:cNvCxnSpPr/>
          <p:nvPr/>
        </p:nvCxnSpPr>
        <p:spPr>
          <a:xfrm flipH="1">
            <a:off x="7054457" y="2962263"/>
            <a:ext cx="224857" cy="0"/>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3" name="Freeform 271"/>
          <p:cNvSpPr/>
          <p:nvPr/>
        </p:nvSpPr>
        <p:spPr>
          <a:xfrm>
            <a:off x="9882136" y="2271158"/>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6" name="Freeform 271"/>
          <p:cNvSpPr/>
          <p:nvPr/>
        </p:nvSpPr>
        <p:spPr>
          <a:xfrm>
            <a:off x="9882136" y="2966290"/>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8" name="Freeform 271"/>
          <p:cNvSpPr/>
          <p:nvPr/>
        </p:nvSpPr>
        <p:spPr>
          <a:xfrm>
            <a:off x="7256359" y="5470983"/>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sp>
        <p:nvSpPr>
          <p:cNvPr id="227" name="TextBox 226"/>
          <p:cNvSpPr txBox="1"/>
          <p:nvPr/>
        </p:nvSpPr>
        <p:spPr>
          <a:xfrm>
            <a:off x="417783" y="6156356"/>
            <a:ext cx="2959871" cy="124650"/>
          </a:xfrm>
          <a:prstGeom prst="rect">
            <a:avLst/>
          </a:prstGeom>
          <a:noFill/>
        </p:spPr>
        <p:txBody>
          <a:bodyPr wrap="square" lIns="0" tIns="0" rIns="0" bIns="0" rtlCol="0">
            <a:spAutoFit/>
          </a:bodyPr>
          <a:lstStyle/>
          <a:p>
            <a:pPr defTabSz="914225">
              <a:lnSpc>
                <a:spcPct val="90000"/>
              </a:lnSpc>
              <a:spcAft>
                <a:spcPts val="600"/>
              </a:spcAft>
              <a:defRPr/>
            </a:pPr>
            <a:r>
              <a:rPr lang="en-US" sz="900" b="1" kern="0" dirty="0">
                <a:gradFill>
                  <a:gsLst>
                    <a:gs pos="2917">
                      <a:srgbClr val="505050"/>
                    </a:gs>
                    <a:gs pos="30000">
                      <a:srgbClr val="505050"/>
                    </a:gs>
                  </a:gsLst>
                  <a:lin ang="5400000" scaled="0"/>
                </a:gradFill>
                <a:latin typeface="Segoe UI"/>
              </a:rPr>
              <a:t>Note: </a:t>
            </a:r>
            <a:r>
              <a:rPr lang="en-US" sz="900" kern="0" dirty="0">
                <a:gradFill>
                  <a:gsLst>
                    <a:gs pos="2917">
                      <a:srgbClr val="505050"/>
                    </a:gs>
                    <a:gs pos="30000">
                      <a:srgbClr val="505050"/>
                    </a:gs>
                  </a:gsLst>
                  <a:lin ang="5400000" scaled="0"/>
                </a:gradFill>
                <a:latin typeface="Segoe UI"/>
              </a:rPr>
              <a:t>not all capabilities available at public preview</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6187" y="2321763"/>
            <a:ext cx="914270" cy="914270"/>
          </a:xfrm>
          <a:prstGeom prst="rect">
            <a:avLst/>
          </a:prstGeom>
        </p:spPr>
      </p:pic>
      <p:grpSp>
        <p:nvGrpSpPr>
          <p:cNvPr id="2" name="Group 1"/>
          <p:cNvGrpSpPr/>
          <p:nvPr/>
        </p:nvGrpSpPr>
        <p:grpSpPr>
          <a:xfrm>
            <a:off x="393730" y="5285331"/>
            <a:ext cx="2064460" cy="627408"/>
            <a:chOff x="392920" y="5285594"/>
            <a:chExt cx="2064753" cy="627497"/>
          </a:xfrm>
        </p:grpSpPr>
        <p:sp>
          <p:nvSpPr>
            <p:cNvPr id="33" name="TextBox 32"/>
            <p:cNvSpPr txBox="1"/>
            <p:nvPr/>
          </p:nvSpPr>
          <p:spPr>
            <a:xfrm>
              <a:off x="392920" y="5285594"/>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167" name="TextBox 166"/>
            <p:cNvSpPr txBox="1"/>
            <p:nvPr/>
          </p:nvSpPr>
          <p:spPr>
            <a:xfrm>
              <a:off x="910242" y="5342028"/>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Analytics Platform System</a:t>
              </a:r>
            </a:p>
          </p:txBody>
        </p:sp>
        <p:sp>
          <p:nvSpPr>
            <p:cNvPr id="230" name="Freeform 56"/>
            <p:cNvSpPr>
              <a:spLocks noChangeAspect="1"/>
            </p:cNvSpPr>
            <p:nvPr/>
          </p:nvSpPr>
          <p:spPr>
            <a:xfrm flipH="1">
              <a:off x="581198" y="5401256"/>
              <a:ext cx="200936" cy="3961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0078D7"/>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EAEAEA">
                    <a:lumMod val="75000"/>
                  </a:srgbClr>
                </a:solidFill>
                <a:latin typeface="Segoe UI"/>
              </a:endParaRPr>
            </a:p>
          </p:txBody>
        </p:sp>
      </p:grpSp>
      <p:grpSp>
        <p:nvGrpSpPr>
          <p:cNvPr id="4" name="Group 3"/>
          <p:cNvGrpSpPr/>
          <p:nvPr/>
        </p:nvGrpSpPr>
        <p:grpSpPr>
          <a:xfrm>
            <a:off x="2576723" y="2086880"/>
            <a:ext cx="2062311" cy="627408"/>
            <a:chOff x="2576223" y="2116506"/>
            <a:chExt cx="2062604" cy="627497"/>
          </a:xfrm>
        </p:grpSpPr>
        <p:sp>
          <p:nvSpPr>
            <p:cNvPr id="102" name="TextBox 101"/>
            <p:cNvSpPr txBox="1"/>
            <p:nvPr/>
          </p:nvSpPr>
          <p:spPr>
            <a:xfrm>
              <a:off x="2576223" y="2116506"/>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algn="ctr" defTabSz="896214">
                <a:lnSpc>
                  <a:spcPct val="90000"/>
                </a:lnSpc>
                <a:spcAft>
                  <a:spcPts val="588"/>
                </a:spcAft>
                <a:defRPr/>
              </a:pPr>
              <a:endParaRPr lang="en-US" sz="1961" kern="0" dirty="0">
                <a:solidFill>
                  <a:srgbClr val="FFFFFF"/>
                </a:solidFill>
                <a:latin typeface="Segoe UI Light"/>
              </a:endParaRPr>
            </a:p>
          </p:txBody>
        </p:sp>
        <p:sp>
          <p:nvSpPr>
            <p:cNvPr id="426" name="TextBox 425"/>
            <p:cNvSpPr txBox="1"/>
            <p:nvPr/>
          </p:nvSpPr>
          <p:spPr>
            <a:xfrm>
              <a:off x="3091396" y="2172940"/>
              <a:ext cx="1547431" cy="522964"/>
            </a:xfrm>
            <a:prstGeom prst="rect">
              <a:avLst/>
            </a:prstGeom>
            <a:noFill/>
          </p:spPr>
          <p:txBody>
            <a:bodyPr wrap="square" rtlCol="0">
              <a:spAutoFit/>
            </a:bodyPr>
            <a:lstStyle/>
            <a:p>
              <a:pPr defTabSz="896214">
                <a:defRPr/>
              </a:pPr>
              <a:r>
                <a:rPr lang="en-US" sz="1371" kern="0" dirty="0">
                  <a:solidFill>
                    <a:srgbClr val="0078D7"/>
                  </a:solidFill>
                  <a:latin typeface="Segoe UI Semibold" panose="020B0702040204020203" pitchFamily="34" charset="0"/>
                  <a:cs typeface="Segoe UI Semibold" panose="020B0702040204020203" pitchFamily="34" charset="0"/>
                </a:rPr>
                <a:t>Other data sources</a:t>
              </a:r>
            </a:p>
          </p:txBody>
        </p:sp>
        <p:grpSp>
          <p:nvGrpSpPr>
            <p:cNvPr id="190" name="Group 30"/>
            <p:cNvGrpSpPr>
              <a:grpSpLocks noChangeAspect="1"/>
            </p:cNvGrpSpPr>
            <p:nvPr/>
          </p:nvGrpSpPr>
          <p:grpSpPr bwMode="auto">
            <a:xfrm>
              <a:off x="2693520" y="2206953"/>
              <a:ext cx="339639" cy="446602"/>
              <a:chOff x="2455" y="3797"/>
              <a:chExt cx="308" cy="405"/>
            </a:xfrm>
          </p:grpSpPr>
          <p:sp>
            <p:nvSpPr>
              <p:cNvPr id="191"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2"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3"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4"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5"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6"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97"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spTree>
    <p:extLst>
      <p:ext uri="{BB962C8B-B14F-4D97-AF65-F5344CB8AC3E}">
        <p14:creationId xmlns:p14="http://schemas.microsoft.com/office/powerpoint/2010/main" val="178111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AAB80071-3043-46C0-B33D-77C2965F5DF5}"/>
              </a:ext>
            </a:extLst>
          </p:cNvPr>
          <p:cNvSpPr/>
          <p:nvPr/>
        </p:nvSpPr>
        <p:spPr bwMode="auto">
          <a:xfrm>
            <a:off x="4197296" y="4664507"/>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EFAFE247-08E1-4D7B-B16C-0EE2677B8044}"/>
              </a:ext>
            </a:extLst>
          </p:cNvPr>
          <p:cNvSpPr/>
          <p:nvPr/>
        </p:nvSpPr>
        <p:spPr bwMode="auto">
          <a:xfrm>
            <a:off x="6740602" y="4672363"/>
            <a:ext cx="1643137" cy="1223093"/>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C0874B7F-AA49-4510-9B46-F2A3EE0B3B1F}"/>
              </a:ext>
            </a:extLst>
          </p:cNvPr>
          <p:cNvSpPr/>
          <p:nvPr/>
        </p:nvSpPr>
        <p:spPr bwMode="auto">
          <a:xfrm>
            <a:off x="7021796" y="2766847"/>
            <a:ext cx="1405221" cy="109265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9" name="Rectangle 168">
            <a:extLst>
              <a:ext uri="{FF2B5EF4-FFF2-40B4-BE49-F238E27FC236}">
                <a16:creationId xmlns:a16="http://schemas.microsoft.com/office/drawing/2014/main" id="{7A0367CA-A7B6-40FA-B51D-028DE4E5F72C}"/>
              </a:ext>
            </a:extLst>
          </p:cNvPr>
          <p:cNvSpPr/>
          <p:nvPr/>
        </p:nvSpPr>
        <p:spPr bwMode="auto">
          <a:xfrm>
            <a:off x="5417898" y="2460989"/>
            <a:ext cx="1063496" cy="1246139"/>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a:extLst>
              <a:ext uri="{FF2B5EF4-FFF2-40B4-BE49-F238E27FC236}">
                <a16:creationId xmlns:a16="http://schemas.microsoft.com/office/drawing/2014/main" id="{0810652F-157F-4999-BFE4-A4BE133338A4}"/>
              </a:ext>
            </a:extLst>
          </p:cNvPr>
          <p:cNvSpPr/>
          <p:nvPr/>
        </p:nvSpPr>
        <p:spPr bwMode="auto">
          <a:xfrm>
            <a:off x="3885839" y="3306328"/>
            <a:ext cx="1011505" cy="927761"/>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7" name="Freeform 266">
            <a:extLst>
              <a:ext uri="{FF2B5EF4-FFF2-40B4-BE49-F238E27FC236}">
                <a16:creationId xmlns:a16="http://schemas.microsoft.com/office/drawing/2014/main" id="{6EEF1465-140F-4D66-93DB-CA11ED659035}"/>
              </a:ext>
            </a:extLst>
          </p:cNvPr>
          <p:cNvSpPr>
            <a:spLocks noChangeAspect="1"/>
          </p:cNvSpPr>
          <p:nvPr/>
        </p:nvSpPr>
        <p:spPr bwMode="black">
          <a:xfrm>
            <a:off x="4546530" y="3196202"/>
            <a:ext cx="3201912" cy="189361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tx2"/>
          </a:solidFill>
          <a:ln>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2" name="Title 1"/>
          <p:cNvSpPr>
            <a:spLocks noGrp="1"/>
          </p:cNvSpPr>
          <p:nvPr>
            <p:ph type="title"/>
          </p:nvPr>
        </p:nvSpPr>
        <p:spPr/>
        <p:txBody>
          <a:bodyPr/>
          <a:lstStyle/>
          <a:p>
            <a:r>
              <a:rPr lang="en-US" dirty="0"/>
              <a:t>Azure Analysis Services</a:t>
            </a:r>
            <a:br>
              <a:rPr lang="en-US" dirty="0"/>
            </a:br>
            <a:r>
              <a:rPr lang="en-US" sz="3136" dirty="0">
                <a:gradFill>
                  <a:gsLst>
                    <a:gs pos="1250">
                      <a:schemeClr val="tx2"/>
                    </a:gs>
                    <a:gs pos="100000">
                      <a:schemeClr val="tx2"/>
                    </a:gs>
                  </a:gsLst>
                  <a:lin ang="5400000" scaled="0"/>
                </a:gradFill>
              </a:rPr>
              <a:t>Azure Analysis Services is based on SQL Server technology</a:t>
            </a:r>
            <a:endParaRPr lang="en-US" dirty="0">
              <a:gradFill>
                <a:gsLst>
                  <a:gs pos="1250">
                    <a:schemeClr val="tx2"/>
                  </a:gs>
                  <a:gs pos="100000">
                    <a:schemeClr val="tx2"/>
                  </a:gs>
                </a:gsLst>
                <a:lin ang="5400000" scaled="0"/>
              </a:gradFill>
            </a:endParaRPr>
          </a:p>
        </p:txBody>
      </p:sp>
      <p:sp>
        <p:nvSpPr>
          <p:cNvPr id="151" name="Rectangle 150"/>
          <p:cNvSpPr/>
          <p:nvPr/>
        </p:nvSpPr>
        <p:spPr>
          <a:xfrm>
            <a:off x="3812288" y="1941749"/>
            <a:ext cx="1772991" cy="290038"/>
          </a:xfrm>
          <a:prstGeom prst="rect">
            <a:avLst/>
          </a:prstGeom>
        </p:spPr>
        <p:txBody>
          <a:bodyPr wrap="none">
            <a:spAutoFit/>
          </a:bodyPr>
          <a:lstStyle/>
          <a:p>
            <a:pPr defTabSz="896214">
              <a:lnSpc>
                <a:spcPct val="90000"/>
              </a:lnSpc>
              <a:spcAft>
                <a:spcPts val="588"/>
              </a:spcAft>
              <a:defRPr/>
            </a:pPr>
            <a:r>
              <a:rPr lang="en-US" sz="1400" b="1" kern="0" dirty="0">
                <a:solidFill>
                  <a:srgbClr val="0070C0"/>
                </a:solidFill>
                <a:latin typeface="Segoe UI"/>
              </a:rPr>
              <a:t>BI semantic model</a:t>
            </a:r>
          </a:p>
        </p:txBody>
      </p:sp>
      <p:sp>
        <p:nvSpPr>
          <p:cNvPr id="156" name="TextBox 155">
            <a:extLst/>
          </p:cNvPr>
          <p:cNvSpPr txBox="1"/>
          <p:nvPr/>
        </p:nvSpPr>
        <p:spPr>
          <a:xfrm>
            <a:off x="6606074" y="5524143"/>
            <a:ext cx="1912192"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Business logic &amp; metrics</a:t>
            </a:r>
          </a:p>
        </p:txBody>
      </p:sp>
      <p:sp>
        <p:nvSpPr>
          <p:cNvPr id="157" name="Freeform 9">
            <a:extLst/>
          </p:cNvPr>
          <p:cNvSpPr>
            <a:spLocks noChangeAspect="1" noEditPoints="1"/>
          </p:cNvSpPr>
          <p:nvPr/>
        </p:nvSpPr>
        <p:spPr bwMode="black">
          <a:xfrm>
            <a:off x="7431921" y="5030519"/>
            <a:ext cx="579432" cy="4698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rgbClr val="0070C0"/>
            </a:solidFill>
          </a:ln>
        </p:spPr>
        <p:txBody>
          <a:bodyPr vert="horz" wrap="square" lIns="87867" tIns="43934" rIns="87867" bIns="43934" numCol="1" anchor="t" anchorCtr="0" compatLnSpc="1">
            <a:prstTxWarp prst="textNoShape">
              <a:avLst/>
            </a:prstTxWarp>
          </a:bodyPr>
          <a:lstStyle/>
          <a:p>
            <a:pPr defTabSz="896214">
              <a:defRPr/>
            </a:pPr>
            <a:endParaRPr lang="en-US" sz="1729" dirty="0">
              <a:solidFill>
                <a:srgbClr val="2C2C2C"/>
              </a:solidFill>
              <a:latin typeface="Segoe UI"/>
            </a:endParaRPr>
          </a:p>
        </p:txBody>
      </p:sp>
      <p:sp>
        <p:nvSpPr>
          <p:cNvPr id="163" name="TextBox 162">
            <a:extLst/>
          </p:cNvPr>
          <p:cNvSpPr txBox="1"/>
          <p:nvPr/>
        </p:nvSpPr>
        <p:spPr>
          <a:xfrm>
            <a:off x="7141401" y="3398497"/>
            <a:ext cx="1447545" cy="287956"/>
          </a:xfrm>
          <a:prstGeom prst="rect">
            <a:avLst/>
          </a:prstGeom>
          <a:noFill/>
          <a:ln>
            <a:noFill/>
          </a:ln>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Data modeling</a:t>
            </a:r>
          </a:p>
        </p:txBody>
      </p:sp>
      <p:sp>
        <p:nvSpPr>
          <p:cNvPr id="175" name="Freeform 21">
            <a:extLst/>
          </p:cNvPr>
          <p:cNvSpPr>
            <a:spLocks noChangeAspect="1" noEditPoints="1"/>
          </p:cNvSpPr>
          <p:nvPr/>
        </p:nvSpPr>
        <p:spPr bwMode="black">
          <a:xfrm>
            <a:off x="7394711" y="2929776"/>
            <a:ext cx="527207" cy="459505"/>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TextBox 184">
            <a:extLst/>
          </p:cNvPr>
          <p:cNvSpPr txBox="1"/>
          <p:nvPr/>
        </p:nvSpPr>
        <p:spPr>
          <a:xfrm>
            <a:off x="5450015" y="3019803"/>
            <a:ext cx="92955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Security</a:t>
            </a:r>
          </a:p>
        </p:txBody>
      </p:sp>
      <p:sp>
        <p:nvSpPr>
          <p:cNvPr id="186" name="Freeform 99">
            <a:extLst/>
          </p:cNvPr>
          <p:cNvSpPr>
            <a:spLocks noChangeAspect="1"/>
          </p:cNvSpPr>
          <p:nvPr/>
        </p:nvSpPr>
        <p:spPr bwMode="auto">
          <a:xfrm>
            <a:off x="5738864" y="2610813"/>
            <a:ext cx="299156" cy="336762"/>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srgbClr val="0078D7"/>
              </a:solidFill>
              <a:latin typeface="Segoe UI" pitchFamily="34" charset="0"/>
              <a:ea typeface="Segoe UI" pitchFamily="34" charset="0"/>
              <a:cs typeface="Segoe UI" pitchFamily="34" charset="0"/>
            </a:endParaRPr>
          </a:p>
        </p:txBody>
      </p:sp>
      <p:pic>
        <p:nvPicPr>
          <p:cNvPr id="187" name="Picture 186">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929568" y="3638650"/>
            <a:ext cx="1056088" cy="1056088"/>
          </a:xfrm>
          <a:prstGeom prst="rect">
            <a:avLst/>
          </a:prstGeom>
          <a:solidFill>
            <a:schemeClr val="tx2"/>
          </a:solidFill>
        </p:spPr>
      </p:pic>
      <p:sp>
        <p:nvSpPr>
          <p:cNvPr id="188" name="Rectangle 187">
            <a:extLst/>
          </p:cNvPr>
          <p:cNvSpPr/>
          <p:nvPr/>
        </p:nvSpPr>
        <p:spPr>
          <a:xfrm>
            <a:off x="4835164" y="4594151"/>
            <a:ext cx="2696190" cy="341584"/>
          </a:xfrm>
          <a:prstGeom prst="rect">
            <a:avLst/>
          </a:prstGeom>
        </p:spPr>
        <p:txBody>
          <a:bodyPr wrap="none">
            <a:spAutoFit/>
          </a:bodyPr>
          <a:lstStyle/>
          <a:p>
            <a:pPr defTabSz="896214">
              <a:lnSpc>
                <a:spcPct val="90000"/>
              </a:lnSpc>
              <a:spcAft>
                <a:spcPts val="588"/>
              </a:spcAft>
              <a:defRPr/>
            </a:pPr>
            <a:r>
              <a:rPr lang="en-US" sz="1765" b="1" kern="0" dirty="0">
                <a:solidFill>
                  <a:srgbClr val="FFFFFF"/>
                </a:solidFill>
                <a:latin typeface="Segoe UI"/>
              </a:rPr>
              <a:t>Azure Analysis Services</a:t>
            </a:r>
          </a:p>
        </p:txBody>
      </p:sp>
      <p:sp>
        <p:nvSpPr>
          <p:cNvPr id="190" name="Freeform 214">
            <a:extLst/>
          </p:cNvPr>
          <p:cNvSpPr/>
          <p:nvPr/>
        </p:nvSpPr>
        <p:spPr bwMode="auto">
          <a:xfrm flipH="1" flipV="1">
            <a:off x="4409575" y="5087358"/>
            <a:ext cx="403333" cy="403333"/>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1" name="TextBox 190">
            <a:extLst/>
          </p:cNvPr>
          <p:cNvSpPr txBox="1"/>
          <p:nvPr/>
        </p:nvSpPr>
        <p:spPr>
          <a:xfrm>
            <a:off x="4122791" y="5531291"/>
            <a:ext cx="1708088"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Lifecycle management</a:t>
            </a:r>
          </a:p>
        </p:txBody>
      </p:sp>
      <p:sp>
        <p:nvSpPr>
          <p:cNvPr id="158" name="TextBox 157">
            <a:extLst>
              <a:ext uri="{FF2B5EF4-FFF2-40B4-BE49-F238E27FC236}">
                <a16:creationId xmlns:a16="http://schemas.microsoft.com/office/drawing/2014/main" id="{9E37471A-0410-4F72-80A9-70EF60889E56}"/>
              </a:ext>
            </a:extLst>
          </p:cNvPr>
          <p:cNvSpPr txBox="1"/>
          <p:nvPr/>
        </p:nvSpPr>
        <p:spPr>
          <a:xfrm>
            <a:off x="3751001" y="3930104"/>
            <a:ext cx="1112667" cy="287956"/>
          </a:xfrm>
          <a:prstGeom prst="rect">
            <a:avLst/>
          </a:prstGeom>
          <a:noFill/>
        </p:spPr>
        <p:txBody>
          <a:bodyPr wrap="square" lIns="89630" tIns="89630" rIns="89630" bIns="44814" rtlCol="0" anchor="ctr">
            <a:spAutoFit/>
          </a:bodyPr>
          <a:lstStyle/>
          <a:p>
            <a:pPr algn="ctr" defTabSz="896214">
              <a:lnSpc>
                <a:spcPct val="90000"/>
              </a:lnSpc>
              <a:spcAft>
                <a:spcPts val="588"/>
              </a:spcAft>
              <a:defRPr/>
            </a:pPr>
            <a:r>
              <a:rPr lang="en-US" sz="1077" b="1" kern="0" dirty="0">
                <a:solidFill>
                  <a:srgbClr val="0078D7"/>
                </a:solidFill>
                <a:latin typeface="Segoe UI"/>
              </a:rPr>
              <a:t>Queries</a:t>
            </a:r>
          </a:p>
        </p:txBody>
      </p:sp>
      <p:grpSp>
        <p:nvGrpSpPr>
          <p:cNvPr id="159" name="Group 158">
            <a:extLst>
              <a:ext uri="{FF2B5EF4-FFF2-40B4-BE49-F238E27FC236}">
                <a16:creationId xmlns:a16="http://schemas.microsoft.com/office/drawing/2014/main" id="{B5A8C8E4-3BC9-4E72-B014-FAA0AA404284}"/>
              </a:ext>
            </a:extLst>
          </p:cNvPr>
          <p:cNvGrpSpPr/>
          <p:nvPr/>
        </p:nvGrpSpPr>
        <p:grpSpPr>
          <a:xfrm>
            <a:off x="4077972" y="3428229"/>
            <a:ext cx="458722" cy="458722"/>
            <a:chOff x="9613900" y="3016250"/>
            <a:chExt cx="458787" cy="458787"/>
          </a:xfrm>
          <a:noFill/>
        </p:grpSpPr>
        <p:sp>
          <p:nvSpPr>
            <p:cNvPr id="160" name="Rectangle 159">
              <a:extLst>
                <a:ext uri="{FF2B5EF4-FFF2-40B4-BE49-F238E27FC236}">
                  <a16:creationId xmlns:a16="http://schemas.microsoft.com/office/drawing/2014/main" id="{9E9F9D13-E1C7-469E-82F6-5D94888C08EE}"/>
                </a:ext>
              </a:extLst>
            </p:cNvPr>
            <p:cNvSpPr>
              <a:spLocks noChangeArrowheads="1"/>
            </p:cNvSpPr>
            <p:nvPr/>
          </p:nvSpPr>
          <p:spPr bwMode="auto">
            <a:xfrm>
              <a:off x="9613900" y="3016250"/>
              <a:ext cx="458787" cy="4587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1" name="Rectangle 160">
              <a:extLst>
                <a:ext uri="{FF2B5EF4-FFF2-40B4-BE49-F238E27FC236}">
                  <a16:creationId xmlns:a16="http://schemas.microsoft.com/office/drawing/2014/main" id="{65837D15-8310-4CAF-B539-21E6EBE486EF}"/>
                </a:ext>
              </a:extLst>
            </p:cNvPr>
            <p:cNvSpPr>
              <a:spLocks noChangeArrowheads="1"/>
            </p:cNvSpPr>
            <p:nvPr/>
          </p:nvSpPr>
          <p:spPr bwMode="auto">
            <a:xfrm>
              <a:off x="9640888" y="3275013"/>
              <a:ext cx="76200" cy="1666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4" name="Rectangle 163">
              <a:extLst>
                <a:ext uri="{FF2B5EF4-FFF2-40B4-BE49-F238E27FC236}">
                  <a16:creationId xmlns:a16="http://schemas.microsoft.com/office/drawing/2014/main" id="{B98A364B-12D0-490E-8950-B596B204B2AE}"/>
                </a:ext>
              </a:extLst>
            </p:cNvPr>
            <p:cNvSpPr>
              <a:spLocks noChangeArrowheads="1"/>
            </p:cNvSpPr>
            <p:nvPr/>
          </p:nvSpPr>
          <p:spPr bwMode="auto">
            <a:xfrm>
              <a:off x="9856788" y="3224213"/>
              <a:ext cx="74612" cy="217487"/>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5" name="Rectangle 164">
              <a:extLst>
                <a:ext uri="{FF2B5EF4-FFF2-40B4-BE49-F238E27FC236}">
                  <a16:creationId xmlns:a16="http://schemas.microsoft.com/office/drawing/2014/main" id="{1EF55196-7B61-4015-81A1-42CC18041473}"/>
                </a:ext>
              </a:extLst>
            </p:cNvPr>
            <p:cNvSpPr>
              <a:spLocks noChangeArrowheads="1"/>
            </p:cNvSpPr>
            <p:nvPr/>
          </p:nvSpPr>
          <p:spPr bwMode="auto">
            <a:xfrm>
              <a:off x="9966325" y="3076575"/>
              <a:ext cx="74612" cy="365125"/>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sp>
          <p:nvSpPr>
            <p:cNvPr id="166" name="Rectangle 165">
              <a:extLst>
                <a:ext uri="{FF2B5EF4-FFF2-40B4-BE49-F238E27FC236}">
                  <a16:creationId xmlns:a16="http://schemas.microsoft.com/office/drawing/2014/main" id="{0CA21593-D4E2-4128-AA2C-158EE117906F}"/>
                </a:ext>
              </a:extLst>
            </p:cNvPr>
            <p:cNvSpPr>
              <a:spLocks noChangeArrowheads="1"/>
            </p:cNvSpPr>
            <p:nvPr/>
          </p:nvSpPr>
          <p:spPr bwMode="auto">
            <a:xfrm>
              <a:off x="9750425" y="3195638"/>
              <a:ext cx="76200" cy="246062"/>
            </a:xfrm>
            <a:prstGeom prst="rect">
              <a:avLst/>
            </a:prstGeom>
            <a:grpFill/>
            <a:ln w="9525">
              <a:solidFill>
                <a:srgbClr val="0070C0"/>
              </a:solidFill>
              <a:miter lim="800000"/>
              <a:headEnd/>
              <a:tailEnd/>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a:solidFill>
                  <a:srgbClr val="353535"/>
                </a:solidFill>
                <a:latin typeface="Segoe UI Semilight"/>
              </a:endParaRPr>
            </a:p>
          </p:txBody>
        </p:sp>
      </p:grpSp>
      <p:sp>
        <p:nvSpPr>
          <p:cNvPr id="236" name="Rectangle 235">
            <a:extLst>
              <a:ext uri="{FF2B5EF4-FFF2-40B4-BE49-F238E27FC236}">
                <a16:creationId xmlns:a16="http://schemas.microsoft.com/office/drawing/2014/main" id="{5F864092-D719-4C1E-B3C9-A81C210A3E15}"/>
              </a:ext>
            </a:extLst>
          </p:cNvPr>
          <p:cNvSpPr/>
          <p:nvPr/>
        </p:nvSpPr>
        <p:spPr bwMode="auto">
          <a:xfrm>
            <a:off x="354035" y="2198140"/>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237" name="TextBox 236">
            <a:extLst>
              <a:ext uri="{FF2B5EF4-FFF2-40B4-BE49-F238E27FC236}">
                <a16:creationId xmlns:a16="http://schemas.microsoft.com/office/drawing/2014/main" id="{04863FC8-C559-4409-B51F-E652E787875D}"/>
              </a:ext>
            </a:extLst>
          </p:cNvPr>
          <p:cNvSpPr txBox="1"/>
          <p:nvPr/>
        </p:nvSpPr>
        <p:spPr>
          <a:xfrm>
            <a:off x="461682" y="4384492"/>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238" name="TextBox 237">
            <a:extLst>
              <a:ext uri="{FF2B5EF4-FFF2-40B4-BE49-F238E27FC236}">
                <a16:creationId xmlns:a16="http://schemas.microsoft.com/office/drawing/2014/main" id="{D233B448-4201-4CAF-BA15-657C22B90787}"/>
              </a:ext>
            </a:extLst>
          </p:cNvPr>
          <p:cNvSpPr txBox="1"/>
          <p:nvPr/>
        </p:nvSpPr>
        <p:spPr>
          <a:xfrm>
            <a:off x="469650" y="2352130"/>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239" name="Group 238">
            <a:extLst>
              <a:ext uri="{FF2B5EF4-FFF2-40B4-BE49-F238E27FC236}">
                <a16:creationId xmlns:a16="http://schemas.microsoft.com/office/drawing/2014/main" id="{5E5604A1-6045-4A51-BAAC-C4166D492235}"/>
              </a:ext>
            </a:extLst>
          </p:cNvPr>
          <p:cNvGrpSpPr>
            <a:grpSpLocks/>
          </p:cNvGrpSpPr>
          <p:nvPr/>
        </p:nvGrpSpPr>
        <p:grpSpPr>
          <a:xfrm>
            <a:off x="2710117" y="3132396"/>
            <a:ext cx="594638" cy="2170060"/>
            <a:chOff x="2814452" y="3508016"/>
            <a:chExt cx="1140031" cy="1626177"/>
          </a:xfrm>
        </p:grpSpPr>
        <p:cxnSp>
          <p:nvCxnSpPr>
            <p:cNvPr id="240" name="Straight Connector 239">
              <a:extLst>
                <a:ext uri="{FF2B5EF4-FFF2-40B4-BE49-F238E27FC236}">
                  <a16:creationId xmlns:a16="http://schemas.microsoft.com/office/drawing/2014/main" id="{7A3398E0-042B-45AA-9C42-E6BC42D113B6}"/>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241" name="Straight Arrow Connector 240">
              <a:extLst>
                <a:ext uri="{FF2B5EF4-FFF2-40B4-BE49-F238E27FC236}">
                  <a16:creationId xmlns:a16="http://schemas.microsoft.com/office/drawing/2014/main" id="{BF23265D-E978-4A6F-86D9-A51169513FA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2" name="Straight Arrow Connector 241">
              <a:extLst>
                <a:ext uri="{FF2B5EF4-FFF2-40B4-BE49-F238E27FC236}">
                  <a16:creationId xmlns:a16="http://schemas.microsoft.com/office/drawing/2014/main" id="{74827A11-61EB-4058-A2D8-1BC597C19A42}"/>
                </a:ext>
              </a:extLst>
            </p:cNvPr>
            <p:cNvCxnSpPr/>
            <p:nvPr/>
          </p:nvCxnSpPr>
          <p:spPr>
            <a:xfrm flipH="1">
              <a:off x="2814454" y="5119480"/>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243" name="Straight Arrow Connector 242">
              <a:extLst>
                <a:ext uri="{FF2B5EF4-FFF2-40B4-BE49-F238E27FC236}">
                  <a16:creationId xmlns:a16="http://schemas.microsoft.com/office/drawing/2014/main" id="{AD7E40BB-17EC-42DE-B8BE-405F0A330305}"/>
                </a:ext>
              </a:extLst>
            </p:cNvPr>
            <p:cNvCxnSpPr/>
            <p:nvPr/>
          </p:nvCxnSpPr>
          <p:spPr>
            <a:xfrm rot="10800000" flipH="1">
              <a:off x="3408217" y="4334991"/>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244" name="Rectangle 243">
            <a:extLst>
              <a:ext uri="{FF2B5EF4-FFF2-40B4-BE49-F238E27FC236}">
                <a16:creationId xmlns:a16="http://schemas.microsoft.com/office/drawing/2014/main" id="{9DAC4E0F-9938-4F87-95E5-AD655A496BE5}"/>
              </a:ext>
            </a:extLst>
          </p:cNvPr>
          <p:cNvSpPr/>
          <p:nvPr/>
        </p:nvSpPr>
        <p:spPr>
          <a:xfrm>
            <a:off x="412144" y="1936122"/>
            <a:ext cx="1279336"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Data sources</a:t>
            </a:r>
          </a:p>
        </p:txBody>
      </p:sp>
      <p:grpSp>
        <p:nvGrpSpPr>
          <p:cNvPr id="245" name="Group 30">
            <a:extLst>
              <a:ext uri="{FF2B5EF4-FFF2-40B4-BE49-F238E27FC236}">
                <a16:creationId xmlns:a16="http://schemas.microsoft.com/office/drawing/2014/main" id="{6A27C7E7-28FB-4122-A096-81430FAC993D}"/>
              </a:ext>
            </a:extLst>
          </p:cNvPr>
          <p:cNvGrpSpPr>
            <a:grpSpLocks noChangeAspect="1"/>
          </p:cNvGrpSpPr>
          <p:nvPr/>
        </p:nvGrpSpPr>
        <p:grpSpPr bwMode="auto">
          <a:xfrm>
            <a:off x="605205" y="5004453"/>
            <a:ext cx="206926" cy="272092"/>
            <a:chOff x="2455" y="3797"/>
            <a:chExt cx="308" cy="405"/>
          </a:xfrm>
        </p:grpSpPr>
        <p:sp>
          <p:nvSpPr>
            <p:cNvPr id="246" name="AutoShape 29">
              <a:extLst>
                <a:ext uri="{FF2B5EF4-FFF2-40B4-BE49-F238E27FC236}">
                  <a16:creationId xmlns:a16="http://schemas.microsoft.com/office/drawing/2014/main" id="{5A1BEE2E-2A04-4384-A157-A0D3FAF07011}"/>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7" name="Freeform 31">
              <a:extLst>
                <a:ext uri="{FF2B5EF4-FFF2-40B4-BE49-F238E27FC236}">
                  <a16:creationId xmlns:a16="http://schemas.microsoft.com/office/drawing/2014/main" id="{E7BD0DD3-69E8-4BDC-97A2-FEBC345046C3}"/>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48" name="Freeform 32">
              <a:extLst>
                <a:ext uri="{FF2B5EF4-FFF2-40B4-BE49-F238E27FC236}">
                  <a16:creationId xmlns:a16="http://schemas.microsoft.com/office/drawing/2014/main" id="{B9220028-59FD-4B78-9720-41DEC6726881}"/>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9" name="Freeform 33">
              <a:extLst>
                <a:ext uri="{FF2B5EF4-FFF2-40B4-BE49-F238E27FC236}">
                  <a16:creationId xmlns:a16="http://schemas.microsoft.com/office/drawing/2014/main" id="{390086DE-7B6E-4835-B1B4-3AE651D05264}"/>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0" name="Oval 34">
              <a:extLst>
                <a:ext uri="{FF2B5EF4-FFF2-40B4-BE49-F238E27FC236}">
                  <a16:creationId xmlns:a16="http://schemas.microsoft.com/office/drawing/2014/main" id="{13C9A606-94F6-45E7-8C2F-52B3709ADCA4}"/>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1" name="Oval 35">
              <a:extLst>
                <a:ext uri="{FF2B5EF4-FFF2-40B4-BE49-F238E27FC236}">
                  <a16:creationId xmlns:a16="http://schemas.microsoft.com/office/drawing/2014/main" id="{1ABE0847-0626-459D-9187-BBD2A48CB72B}"/>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2" name="Freeform 36">
              <a:extLst>
                <a:ext uri="{FF2B5EF4-FFF2-40B4-BE49-F238E27FC236}">
                  <a16:creationId xmlns:a16="http://schemas.microsoft.com/office/drawing/2014/main" id="{549DACED-E1DD-4347-851D-A9FCBCF86599}"/>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3" name="Freeform 37">
              <a:extLst>
                <a:ext uri="{FF2B5EF4-FFF2-40B4-BE49-F238E27FC236}">
                  <a16:creationId xmlns:a16="http://schemas.microsoft.com/office/drawing/2014/main" id="{6E55A430-80B6-472B-8AE3-E465B57B0154}"/>
                </a:ext>
              </a:extLst>
            </p:cNvPr>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254" name="Freeform 38">
              <a:extLst>
                <a:ext uri="{FF2B5EF4-FFF2-40B4-BE49-F238E27FC236}">
                  <a16:creationId xmlns:a16="http://schemas.microsoft.com/office/drawing/2014/main" id="{CF736425-7759-41B0-9EB5-FF657B1E288B}"/>
                </a:ext>
              </a:extLst>
            </p:cNvPr>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a:endParaRPr>
            </a:p>
          </p:txBody>
        </p:sp>
        <p:sp>
          <p:nvSpPr>
            <p:cNvPr id="255" name="Freeform 39">
              <a:extLst>
                <a:ext uri="{FF2B5EF4-FFF2-40B4-BE49-F238E27FC236}">
                  <a16:creationId xmlns:a16="http://schemas.microsoft.com/office/drawing/2014/main" id="{A8FA8280-42ED-464A-8E09-D01D3FDCB17E}"/>
                </a:ext>
              </a:extLst>
            </p:cNvPr>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505050"/>
                </a:solidFill>
                <a:latin typeface="Segoe UI"/>
              </a:endParaRPr>
            </a:p>
          </p:txBody>
        </p:sp>
      </p:grpSp>
      <p:grpSp>
        <p:nvGrpSpPr>
          <p:cNvPr id="256" name="Group 30">
            <a:extLst>
              <a:ext uri="{FF2B5EF4-FFF2-40B4-BE49-F238E27FC236}">
                <a16:creationId xmlns:a16="http://schemas.microsoft.com/office/drawing/2014/main" id="{7593D950-7E53-465C-BE85-60AB7107EFC6}"/>
              </a:ext>
            </a:extLst>
          </p:cNvPr>
          <p:cNvGrpSpPr>
            <a:grpSpLocks noChangeAspect="1"/>
          </p:cNvGrpSpPr>
          <p:nvPr/>
        </p:nvGrpSpPr>
        <p:grpSpPr bwMode="auto">
          <a:xfrm>
            <a:off x="605206" y="5793904"/>
            <a:ext cx="200870" cy="264131"/>
            <a:chOff x="2455" y="3797"/>
            <a:chExt cx="308" cy="405"/>
          </a:xfrm>
        </p:grpSpPr>
        <p:sp>
          <p:nvSpPr>
            <p:cNvPr id="257" name="AutoShape 29">
              <a:extLst>
                <a:ext uri="{FF2B5EF4-FFF2-40B4-BE49-F238E27FC236}">
                  <a16:creationId xmlns:a16="http://schemas.microsoft.com/office/drawing/2014/main" id="{32B3CA9E-780C-4453-92BE-DF8CD5261FBE}"/>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8" name="Freeform 31">
              <a:extLst>
                <a:ext uri="{FF2B5EF4-FFF2-40B4-BE49-F238E27FC236}">
                  <a16:creationId xmlns:a16="http://schemas.microsoft.com/office/drawing/2014/main" id="{AB25C4F5-FB81-4544-B12C-4B37FD53AD9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59" name="Freeform 32">
              <a:extLst>
                <a:ext uri="{FF2B5EF4-FFF2-40B4-BE49-F238E27FC236}">
                  <a16:creationId xmlns:a16="http://schemas.microsoft.com/office/drawing/2014/main" id="{024C3B02-BE5A-4E17-BF37-CB5FA8C02F26}"/>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0" name="Freeform 33">
              <a:extLst>
                <a:ext uri="{FF2B5EF4-FFF2-40B4-BE49-F238E27FC236}">
                  <a16:creationId xmlns:a16="http://schemas.microsoft.com/office/drawing/2014/main" id="{E0E13D74-62AD-4DC8-937C-961056CDCFDD}"/>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1" name="Oval 34">
              <a:extLst>
                <a:ext uri="{FF2B5EF4-FFF2-40B4-BE49-F238E27FC236}">
                  <a16:creationId xmlns:a16="http://schemas.microsoft.com/office/drawing/2014/main" id="{57E1E90A-1B55-4805-9EA7-B87B2DCAAEA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2" name="Oval 35">
              <a:extLst>
                <a:ext uri="{FF2B5EF4-FFF2-40B4-BE49-F238E27FC236}">
                  <a16:creationId xmlns:a16="http://schemas.microsoft.com/office/drawing/2014/main" id="{7CFEF428-B729-496B-BEFE-0B2FAB7481B3}"/>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3" name="Freeform 36">
              <a:extLst>
                <a:ext uri="{FF2B5EF4-FFF2-40B4-BE49-F238E27FC236}">
                  <a16:creationId xmlns:a16="http://schemas.microsoft.com/office/drawing/2014/main" id="{06931F03-FC8C-4ADD-AEC2-5D19828CA6B8}"/>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264" name="Group 263">
            <a:extLst>
              <a:ext uri="{FF2B5EF4-FFF2-40B4-BE49-F238E27FC236}">
                <a16:creationId xmlns:a16="http://schemas.microsoft.com/office/drawing/2014/main" id="{13B97954-FB2B-43D3-B574-72E8187DE2E5}"/>
              </a:ext>
            </a:extLst>
          </p:cNvPr>
          <p:cNvGrpSpPr/>
          <p:nvPr/>
        </p:nvGrpSpPr>
        <p:grpSpPr>
          <a:xfrm>
            <a:off x="562317" y="3009984"/>
            <a:ext cx="1806328" cy="1083607"/>
            <a:chOff x="545544" y="2789516"/>
            <a:chExt cx="2023637" cy="1213969"/>
          </a:xfrm>
        </p:grpSpPr>
        <p:sp>
          <p:nvSpPr>
            <p:cNvPr id="265" name="TextBox 264">
              <a:extLst>
                <a:ext uri="{FF2B5EF4-FFF2-40B4-BE49-F238E27FC236}">
                  <a16:creationId xmlns:a16="http://schemas.microsoft.com/office/drawing/2014/main" id="{BBF37B02-B563-4D65-8211-2BE0071CEDFE}"/>
                </a:ext>
              </a:extLst>
            </p:cNvPr>
            <p:cNvSpPr txBox="1"/>
            <p:nvPr/>
          </p:nvSpPr>
          <p:spPr>
            <a:xfrm>
              <a:off x="903666" y="2836731"/>
              <a:ext cx="166551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base</a:t>
              </a:r>
            </a:p>
          </p:txBody>
        </p:sp>
        <p:sp>
          <p:nvSpPr>
            <p:cNvPr id="266" name="TextBox 265">
              <a:extLst>
                <a:ext uri="{FF2B5EF4-FFF2-40B4-BE49-F238E27FC236}">
                  <a16:creationId xmlns:a16="http://schemas.microsoft.com/office/drawing/2014/main" id="{36CAC416-C88A-45D3-B01E-4700D1153D52}"/>
                </a:ext>
              </a:extLst>
            </p:cNvPr>
            <p:cNvSpPr txBox="1"/>
            <p:nvPr/>
          </p:nvSpPr>
          <p:spPr>
            <a:xfrm>
              <a:off x="903664" y="3316023"/>
              <a:ext cx="1665517"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Data Warehouse</a:t>
              </a:r>
            </a:p>
          </p:txBody>
        </p:sp>
        <p:sp>
          <p:nvSpPr>
            <p:cNvPr id="267" name="TextBox 266">
              <a:extLst>
                <a:ext uri="{FF2B5EF4-FFF2-40B4-BE49-F238E27FC236}">
                  <a16:creationId xmlns:a16="http://schemas.microsoft.com/office/drawing/2014/main" id="{71D512CA-C6C2-4583-B439-62BA4DC42022}"/>
                </a:ext>
              </a:extLst>
            </p:cNvPr>
            <p:cNvSpPr txBox="1"/>
            <p:nvPr/>
          </p:nvSpPr>
          <p:spPr>
            <a:xfrm>
              <a:off x="572922" y="2789516"/>
              <a:ext cx="310748" cy="34065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FFFFFF"/>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4225">
                <a:lnSpc>
                  <a:spcPct val="90000"/>
                </a:lnSpc>
                <a:spcAft>
                  <a:spcPts val="600"/>
                </a:spcAft>
                <a:defRPr/>
              </a:pPr>
              <a:endParaRPr lang="en-US" sz="7998"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68" name="Group 267">
              <a:extLst>
                <a:ext uri="{FF2B5EF4-FFF2-40B4-BE49-F238E27FC236}">
                  <a16:creationId xmlns:a16="http://schemas.microsoft.com/office/drawing/2014/main" id="{1A67AA63-BBCE-44CF-927A-2AB01F421B99}"/>
                </a:ext>
              </a:extLst>
            </p:cNvPr>
            <p:cNvGrpSpPr/>
            <p:nvPr/>
          </p:nvGrpSpPr>
          <p:grpSpPr>
            <a:xfrm>
              <a:off x="559964" y="3706565"/>
              <a:ext cx="269822" cy="281675"/>
              <a:chOff x="8741682" y="6146532"/>
              <a:chExt cx="435311" cy="454434"/>
            </a:xfrm>
          </p:grpSpPr>
          <p:sp>
            <p:nvSpPr>
              <p:cNvPr id="271" name="AutoShape 41">
                <a:extLst>
                  <a:ext uri="{FF2B5EF4-FFF2-40B4-BE49-F238E27FC236}">
                    <a16:creationId xmlns:a16="http://schemas.microsoft.com/office/drawing/2014/main" id="{A06913BE-406B-4873-9CBF-12CE4DB9A9BF}"/>
                  </a:ext>
                </a:extLst>
              </p:cNvPr>
              <p:cNvSpPr>
                <a:spLocks noChangeAspect="1" noChangeArrowheads="1" noTextEdit="1"/>
              </p:cNvSpPr>
              <p:nvPr/>
            </p:nvSpPr>
            <p:spPr bwMode="auto">
              <a:xfrm>
                <a:off x="8741682" y="6146532"/>
                <a:ext cx="433061" cy="45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2" name="Freeform 44">
                <a:extLst>
                  <a:ext uri="{FF2B5EF4-FFF2-40B4-BE49-F238E27FC236}">
                    <a16:creationId xmlns:a16="http://schemas.microsoft.com/office/drawing/2014/main" id="{51749860-79C7-4E8D-B53A-C70464FCB65E}"/>
                  </a:ext>
                </a:extLst>
              </p:cNvPr>
              <p:cNvSpPr>
                <a:spLocks/>
              </p:cNvSpPr>
              <p:nvPr/>
            </p:nvSpPr>
            <p:spPr bwMode="auto">
              <a:xfrm>
                <a:off x="8851916" y="6257891"/>
                <a:ext cx="325077" cy="343075"/>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3" name="Freeform 46">
                <a:extLst>
                  <a:ext uri="{FF2B5EF4-FFF2-40B4-BE49-F238E27FC236}">
                    <a16:creationId xmlns:a16="http://schemas.microsoft.com/office/drawing/2014/main" id="{C1E2985E-AF14-490D-BD95-A3F9917DB0CD}"/>
                  </a:ext>
                </a:extLst>
              </p:cNvPr>
              <p:cNvSpPr>
                <a:spLocks/>
              </p:cNvSpPr>
              <p:nvPr/>
            </p:nvSpPr>
            <p:spPr bwMode="auto">
              <a:xfrm>
                <a:off x="8869913" y="6275888"/>
                <a:ext cx="289082" cy="30708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4" name="Rectangle 51">
                <a:extLst>
                  <a:ext uri="{FF2B5EF4-FFF2-40B4-BE49-F238E27FC236}">
                    <a16:creationId xmlns:a16="http://schemas.microsoft.com/office/drawing/2014/main" id="{2E3EC2B2-A90E-4CE8-9E9A-5081687DBBF3}"/>
                  </a:ext>
                </a:extLst>
              </p:cNvPr>
              <p:cNvSpPr>
                <a:spLocks noChangeArrowheads="1"/>
              </p:cNvSpPr>
              <p:nvPr/>
            </p:nvSpPr>
            <p:spPr bwMode="auto">
              <a:xfrm>
                <a:off x="8761929" y="6148782"/>
                <a:ext cx="262086" cy="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5" name="Freeform 55">
                <a:extLst>
                  <a:ext uri="{FF2B5EF4-FFF2-40B4-BE49-F238E27FC236}">
                    <a16:creationId xmlns:a16="http://schemas.microsoft.com/office/drawing/2014/main" id="{7A0C7F92-AEF7-4C41-BE3B-A63B34E81F92}"/>
                  </a:ext>
                </a:extLst>
              </p:cNvPr>
              <p:cNvSpPr>
                <a:spLocks/>
              </p:cNvSpPr>
              <p:nvPr/>
            </p:nvSpPr>
            <p:spPr bwMode="auto">
              <a:xfrm>
                <a:off x="8797924" y="6166779"/>
                <a:ext cx="208094" cy="35995"/>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6" name="Rectangle 59">
                <a:extLst>
                  <a:ext uri="{FF2B5EF4-FFF2-40B4-BE49-F238E27FC236}">
                    <a16:creationId xmlns:a16="http://schemas.microsoft.com/office/drawing/2014/main" id="{6918BC25-6544-4740-94FA-6AE2015388DF}"/>
                  </a:ext>
                </a:extLst>
              </p:cNvPr>
              <p:cNvSpPr>
                <a:spLocks noChangeArrowheads="1"/>
              </p:cNvSpPr>
              <p:nvPr/>
            </p:nvSpPr>
            <p:spPr bwMode="auto">
              <a:xfrm>
                <a:off x="8815921" y="6202774"/>
                <a:ext cx="262086" cy="5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7" name="Rectangle 61">
                <a:extLst>
                  <a:ext uri="{FF2B5EF4-FFF2-40B4-BE49-F238E27FC236}">
                    <a16:creationId xmlns:a16="http://schemas.microsoft.com/office/drawing/2014/main" id="{AC18AB91-0164-4E94-8645-BD5D432BF834}"/>
                  </a:ext>
                </a:extLst>
              </p:cNvPr>
              <p:cNvSpPr>
                <a:spLocks noChangeArrowheads="1"/>
              </p:cNvSpPr>
              <p:nvPr/>
            </p:nvSpPr>
            <p:spPr bwMode="auto">
              <a:xfrm>
                <a:off x="8797924" y="6202774"/>
                <a:ext cx="53992" cy="34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8" name="Rectangle 62">
                <a:extLst>
                  <a:ext uri="{FF2B5EF4-FFF2-40B4-BE49-F238E27FC236}">
                    <a16:creationId xmlns:a16="http://schemas.microsoft.com/office/drawing/2014/main" id="{CC3E7F33-29EE-475C-B82F-B130FFDF92B3}"/>
                  </a:ext>
                </a:extLst>
              </p:cNvPr>
              <p:cNvSpPr>
                <a:spLocks noChangeArrowheads="1"/>
              </p:cNvSpPr>
              <p:nvPr/>
            </p:nvSpPr>
            <p:spPr bwMode="auto">
              <a:xfrm>
                <a:off x="8851916" y="6220771"/>
                <a:ext cx="208094" cy="371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79" name="Rectangle 63">
                <a:extLst>
                  <a:ext uri="{FF2B5EF4-FFF2-40B4-BE49-F238E27FC236}">
                    <a16:creationId xmlns:a16="http://schemas.microsoft.com/office/drawing/2014/main" id="{C525879D-2207-4848-95DE-087725337F3D}"/>
                  </a:ext>
                </a:extLst>
              </p:cNvPr>
              <p:cNvSpPr>
                <a:spLocks noChangeArrowheads="1"/>
              </p:cNvSpPr>
              <p:nvPr/>
            </p:nvSpPr>
            <p:spPr bwMode="auto">
              <a:xfrm>
                <a:off x="8851916" y="6220771"/>
                <a:ext cx="208094" cy="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0" name="Freeform 64">
                <a:extLst>
                  <a:ext uri="{FF2B5EF4-FFF2-40B4-BE49-F238E27FC236}">
                    <a16:creationId xmlns:a16="http://schemas.microsoft.com/office/drawing/2014/main" id="{3865E72D-3E21-4939-9ED2-EBC0705EDCC4}"/>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281" name="Freeform 65">
                <a:extLst>
                  <a:ext uri="{FF2B5EF4-FFF2-40B4-BE49-F238E27FC236}">
                    <a16:creationId xmlns:a16="http://schemas.microsoft.com/office/drawing/2014/main" id="{524C37B7-B9A2-435C-938A-32AFE436AD1A}"/>
                  </a:ext>
                </a:extLst>
              </p:cNvPr>
              <p:cNvSpPr>
                <a:spLocks/>
              </p:cNvSpPr>
              <p:nvPr/>
            </p:nvSpPr>
            <p:spPr bwMode="auto">
              <a:xfrm>
                <a:off x="8815921" y="6220771"/>
                <a:ext cx="35995" cy="308205"/>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sp>
          <p:nvSpPr>
            <p:cNvPr id="269" name="Freeform 258">
              <a:extLst>
                <a:ext uri="{FF2B5EF4-FFF2-40B4-BE49-F238E27FC236}">
                  <a16:creationId xmlns:a16="http://schemas.microsoft.com/office/drawing/2014/main" id="{24BA27BC-A3B6-47E6-89A8-7778D9C1725C}"/>
                </a:ext>
              </a:extLst>
            </p:cNvPr>
            <p:cNvSpPr/>
            <p:nvPr/>
          </p:nvSpPr>
          <p:spPr bwMode="auto">
            <a:xfrm flipH="1">
              <a:off x="545544" y="3267499"/>
              <a:ext cx="359022" cy="34326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270" name="TextBox 269">
              <a:extLst>
                <a:ext uri="{FF2B5EF4-FFF2-40B4-BE49-F238E27FC236}">
                  <a16:creationId xmlns:a16="http://schemas.microsoft.com/office/drawing/2014/main" id="{F9639840-C8E8-4BD7-9ECD-E217B1689624}"/>
                </a:ext>
              </a:extLst>
            </p:cNvPr>
            <p:cNvSpPr txBox="1"/>
            <p:nvPr/>
          </p:nvSpPr>
          <p:spPr>
            <a:xfrm>
              <a:off x="903666" y="3724234"/>
              <a:ext cx="1464554" cy="279251"/>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sp>
        <p:nvSpPr>
          <p:cNvPr id="282" name="Freeform 266">
            <a:extLst>
              <a:ext uri="{FF2B5EF4-FFF2-40B4-BE49-F238E27FC236}">
                <a16:creationId xmlns:a16="http://schemas.microsoft.com/office/drawing/2014/main" id="{7AD30913-CA3B-44C8-BEF5-D054DFCCBA98}"/>
              </a:ext>
            </a:extLst>
          </p:cNvPr>
          <p:cNvSpPr>
            <a:spLocks noChangeAspect="1"/>
          </p:cNvSpPr>
          <p:nvPr/>
        </p:nvSpPr>
        <p:spPr bwMode="black">
          <a:xfrm>
            <a:off x="1923275" y="2408972"/>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283" name="Freeform 70">
            <a:extLst>
              <a:ext uri="{FF2B5EF4-FFF2-40B4-BE49-F238E27FC236}">
                <a16:creationId xmlns:a16="http://schemas.microsoft.com/office/drawing/2014/main" id="{06C59C9F-4783-493F-A91E-F21F15805782}"/>
              </a:ext>
            </a:extLst>
          </p:cNvPr>
          <p:cNvSpPr/>
          <p:nvPr/>
        </p:nvSpPr>
        <p:spPr>
          <a:xfrm>
            <a:off x="2001684" y="4443267"/>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sp>
        <p:nvSpPr>
          <p:cNvPr id="284" name="TextBox 283">
            <a:extLst>
              <a:ext uri="{FF2B5EF4-FFF2-40B4-BE49-F238E27FC236}">
                <a16:creationId xmlns:a16="http://schemas.microsoft.com/office/drawing/2014/main" id="{D69C5807-AA82-4D10-BD83-864D4B849866}"/>
              </a:ext>
            </a:extLst>
          </p:cNvPr>
          <p:cNvSpPr txBox="1"/>
          <p:nvPr/>
        </p:nvSpPr>
        <p:spPr>
          <a:xfrm>
            <a:off x="881979" y="501186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SQL Server</a:t>
            </a:r>
          </a:p>
        </p:txBody>
      </p:sp>
      <p:sp>
        <p:nvSpPr>
          <p:cNvPr id="285" name="TextBox 284">
            <a:extLst>
              <a:ext uri="{FF2B5EF4-FFF2-40B4-BE49-F238E27FC236}">
                <a16:creationId xmlns:a16="http://schemas.microsoft.com/office/drawing/2014/main" id="{23B804C8-96D5-4185-9D7F-B4B52469D271}"/>
              </a:ext>
            </a:extLst>
          </p:cNvPr>
          <p:cNvSpPr txBox="1"/>
          <p:nvPr/>
        </p:nvSpPr>
        <p:spPr>
          <a:xfrm>
            <a:off x="881979" y="5340790"/>
            <a:ext cx="1486665" cy="406208"/>
          </a:xfrm>
          <a:prstGeom prst="rect">
            <a:avLst/>
          </a:prstGeom>
          <a:solidFill>
            <a:srgbClr val="505050">
              <a:lumMod val="60000"/>
              <a:lumOff val="40000"/>
            </a:srgbClr>
          </a:solid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Analytics platform system</a:t>
            </a:r>
          </a:p>
        </p:txBody>
      </p:sp>
      <p:sp>
        <p:nvSpPr>
          <p:cNvPr id="286" name="TextBox 285">
            <a:extLst>
              <a:ext uri="{FF2B5EF4-FFF2-40B4-BE49-F238E27FC236}">
                <a16:creationId xmlns:a16="http://schemas.microsoft.com/office/drawing/2014/main" id="{712B7E8F-28E3-477D-B2BD-BFA27203B36D}"/>
              </a:ext>
            </a:extLst>
          </p:cNvPr>
          <p:cNvSpPr txBox="1"/>
          <p:nvPr/>
        </p:nvSpPr>
        <p:spPr>
          <a:xfrm>
            <a:off x="881979" y="5804062"/>
            <a:ext cx="152573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Other data sources</a:t>
            </a:r>
          </a:p>
        </p:txBody>
      </p:sp>
      <p:grpSp>
        <p:nvGrpSpPr>
          <p:cNvPr id="287" name="Group 30">
            <a:extLst>
              <a:ext uri="{FF2B5EF4-FFF2-40B4-BE49-F238E27FC236}">
                <a16:creationId xmlns:a16="http://schemas.microsoft.com/office/drawing/2014/main" id="{D3904615-204F-4882-B9D5-153FF9587448}"/>
              </a:ext>
            </a:extLst>
          </p:cNvPr>
          <p:cNvGrpSpPr>
            <a:grpSpLocks noChangeAspect="1"/>
          </p:cNvGrpSpPr>
          <p:nvPr/>
        </p:nvGrpSpPr>
        <p:grpSpPr bwMode="auto">
          <a:xfrm>
            <a:off x="607052" y="3836394"/>
            <a:ext cx="200870" cy="264131"/>
            <a:chOff x="2455" y="3797"/>
            <a:chExt cx="308" cy="405"/>
          </a:xfrm>
        </p:grpSpPr>
        <p:sp>
          <p:nvSpPr>
            <p:cNvPr id="288" name="AutoShape 29">
              <a:extLst>
                <a:ext uri="{FF2B5EF4-FFF2-40B4-BE49-F238E27FC236}">
                  <a16:creationId xmlns:a16="http://schemas.microsoft.com/office/drawing/2014/main" id="{5985DD2F-51EC-4AA4-9E85-DFBE3AC74D0B}"/>
                </a:ext>
              </a:extLst>
            </p:cNvPr>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89" name="Freeform 31">
              <a:extLst>
                <a:ext uri="{FF2B5EF4-FFF2-40B4-BE49-F238E27FC236}">
                  <a16:creationId xmlns:a16="http://schemas.microsoft.com/office/drawing/2014/main" id="{975957F5-9C91-41D1-B8BC-0C5AEB67EEDF}"/>
                </a:ext>
              </a:extLst>
            </p:cNvPr>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0" name="Freeform 32">
              <a:extLst>
                <a:ext uri="{FF2B5EF4-FFF2-40B4-BE49-F238E27FC236}">
                  <a16:creationId xmlns:a16="http://schemas.microsoft.com/office/drawing/2014/main" id="{2A5F812F-71F2-44E1-8F00-2374219AE2F4}"/>
                </a:ext>
              </a:extLst>
            </p:cNvPr>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1" name="Freeform 33">
              <a:extLst>
                <a:ext uri="{FF2B5EF4-FFF2-40B4-BE49-F238E27FC236}">
                  <a16:creationId xmlns:a16="http://schemas.microsoft.com/office/drawing/2014/main" id="{399708B5-499B-4F26-AE95-AFA61B5CBF5E}"/>
                </a:ext>
              </a:extLst>
            </p:cNvPr>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2" name="Oval 34">
              <a:extLst>
                <a:ext uri="{FF2B5EF4-FFF2-40B4-BE49-F238E27FC236}">
                  <a16:creationId xmlns:a16="http://schemas.microsoft.com/office/drawing/2014/main" id="{D7150F02-484B-4E54-9144-F4A48A2B2986}"/>
                </a:ext>
              </a:extLst>
            </p:cNvPr>
            <p:cNvSpPr>
              <a:spLocks noChangeArrowheads="1"/>
            </p:cNvSpPr>
            <p:nvPr/>
          </p:nvSpPr>
          <p:spPr bwMode="auto">
            <a:xfrm>
              <a:off x="2455" y="3797"/>
              <a:ext cx="306" cy="1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3" name="Oval 35">
              <a:extLst>
                <a:ext uri="{FF2B5EF4-FFF2-40B4-BE49-F238E27FC236}">
                  <a16:creationId xmlns:a16="http://schemas.microsoft.com/office/drawing/2014/main" id="{9CC95B2B-1993-4592-97AC-94A6812EAB4D}"/>
                </a:ext>
              </a:extLst>
            </p:cNvPr>
            <p:cNvSpPr>
              <a:spLocks noChangeArrowheads="1"/>
            </p:cNvSpPr>
            <p:nvPr/>
          </p:nvSpPr>
          <p:spPr bwMode="auto">
            <a:xfrm>
              <a:off x="2486" y="3813"/>
              <a:ext cx="244" cy="74"/>
            </a:xfrm>
            <a:prstGeom prst="ellipse">
              <a:avLst/>
            </a:pr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94" name="Freeform 36">
              <a:extLst>
                <a:ext uri="{FF2B5EF4-FFF2-40B4-BE49-F238E27FC236}">
                  <a16:creationId xmlns:a16="http://schemas.microsoft.com/office/drawing/2014/main" id="{7E64BD70-096D-44C9-8107-D144268AAD06}"/>
                </a:ext>
              </a:extLst>
            </p:cNvPr>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50505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295" name="Freeform 56">
            <a:extLst>
              <a:ext uri="{FF2B5EF4-FFF2-40B4-BE49-F238E27FC236}">
                <a16:creationId xmlns:a16="http://schemas.microsoft.com/office/drawing/2014/main" id="{ED68B3F9-F1F7-4635-96E4-7F32F5FA19CF}"/>
              </a:ext>
            </a:extLst>
          </p:cNvPr>
          <p:cNvSpPr>
            <a:spLocks noChangeAspect="1"/>
          </p:cNvSpPr>
          <p:nvPr/>
        </p:nvSpPr>
        <p:spPr>
          <a:xfrm flipH="1">
            <a:off x="616262" y="5391393"/>
            <a:ext cx="139113" cy="27428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FFFFFF"/>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0" fontAlgn="base">
              <a:spcBef>
                <a:spcPct val="0"/>
              </a:spcBef>
              <a:spcAft>
                <a:spcPct val="0"/>
              </a:spcAft>
              <a:defRPr/>
            </a:pPr>
            <a:endParaRPr lang="en-US" sz="1599" kern="0" dirty="0">
              <a:solidFill>
                <a:srgbClr val="000000"/>
              </a:solidFill>
              <a:latin typeface="Segoe UI"/>
            </a:endParaRPr>
          </a:p>
        </p:txBody>
      </p:sp>
      <p:sp>
        <p:nvSpPr>
          <p:cNvPr id="322" name="Rectangle 321">
            <a:extLst>
              <a:ext uri="{FF2B5EF4-FFF2-40B4-BE49-F238E27FC236}">
                <a16:creationId xmlns:a16="http://schemas.microsoft.com/office/drawing/2014/main" id="{40768E62-F527-4659-A84D-1550A8A30162}"/>
              </a:ext>
            </a:extLst>
          </p:cNvPr>
          <p:cNvSpPr/>
          <p:nvPr/>
        </p:nvSpPr>
        <p:spPr bwMode="auto">
          <a:xfrm>
            <a:off x="9697433" y="2243854"/>
            <a:ext cx="2220372" cy="4142114"/>
          </a:xfrm>
          <a:prstGeom prst="rect">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27997" tIns="91427" rIns="182854" bIns="146284" numCol="1" spcCol="0" rtlCol="0" fromWordArt="0" anchor="t" anchorCtr="0" forceAA="0" compatLnSpc="1">
            <a:prstTxWarp prst="textNoShape">
              <a:avLst/>
            </a:prstTxWarp>
            <a:noAutofit/>
          </a:bodyPr>
          <a:lstStyle/>
          <a:p>
            <a:pPr defTabSz="914225">
              <a:lnSpc>
                <a:spcPct val="90000"/>
              </a:lnSpc>
              <a:spcAft>
                <a:spcPts val="600"/>
              </a:spcAft>
              <a:defRPr/>
            </a:pPr>
            <a:endParaRPr lang="en-US" sz="1400" b="1" kern="0" dirty="0">
              <a:solidFill>
                <a:srgbClr val="2C2C2C"/>
              </a:solidFill>
              <a:latin typeface="Segoe UI"/>
            </a:endParaRPr>
          </a:p>
        </p:txBody>
      </p:sp>
      <p:sp>
        <p:nvSpPr>
          <p:cNvPr id="323" name="TextBox 322">
            <a:extLst>
              <a:ext uri="{FF2B5EF4-FFF2-40B4-BE49-F238E27FC236}">
                <a16:creationId xmlns:a16="http://schemas.microsoft.com/office/drawing/2014/main" id="{BCCB3A0D-22B8-44DB-B8A4-E2D17CB3CBE8}"/>
              </a:ext>
            </a:extLst>
          </p:cNvPr>
          <p:cNvSpPr txBox="1"/>
          <p:nvPr/>
        </p:nvSpPr>
        <p:spPr>
          <a:xfrm>
            <a:off x="9813048" y="437551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On-premises</a:t>
            </a:r>
          </a:p>
        </p:txBody>
      </p:sp>
      <p:sp>
        <p:nvSpPr>
          <p:cNvPr id="324" name="TextBox 323">
            <a:extLst>
              <a:ext uri="{FF2B5EF4-FFF2-40B4-BE49-F238E27FC236}">
                <a16:creationId xmlns:a16="http://schemas.microsoft.com/office/drawing/2014/main" id="{E955C677-ECF6-4095-A1E7-3D6DE4746C01}"/>
              </a:ext>
            </a:extLst>
          </p:cNvPr>
          <p:cNvSpPr txBox="1"/>
          <p:nvPr/>
        </p:nvSpPr>
        <p:spPr>
          <a:xfrm>
            <a:off x="9813048" y="2363559"/>
            <a:ext cx="1989138" cy="1878120"/>
          </a:xfrm>
          <a:prstGeom prst="rect">
            <a:avLst/>
          </a:prstGeom>
          <a:solidFill>
            <a:srgbClr val="505050">
              <a:lumMod val="60000"/>
              <a:lumOff val="40000"/>
            </a:srgbClr>
          </a:solidFill>
        </p:spPr>
        <p:txBody>
          <a:bodyPr wrap="square" lIns="91427" tIns="91427" rIns="182854" bIns="146284" rtlCol="0">
            <a:noAutofit/>
          </a:bodyPr>
          <a:lstStyle/>
          <a:p>
            <a:pPr defTabSz="914225">
              <a:lnSpc>
                <a:spcPct val="90000"/>
              </a:lnSpc>
              <a:spcAft>
                <a:spcPts val="600"/>
              </a:spcAft>
              <a:defRPr/>
            </a:pPr>
            <a:r>
              <a:rPr lang="en-US" sz="1100" b="1" kern="0" dirty="0">
                <a:solidFill>
                  <a:srgbClr val="FFFFFF"/>
                </a:solidFill>
                <a:latin typeface="Segoe UI"/>
              </a:rPr>
              <a:t>Cloud</a:t>
            </a:r>
          </a:p>
        </p:txBody>
      </p:sp>
      <p:grpSp>
        <p:nvGrpSpPr>
          <p:cNvPr id="325" name="Group 324">
            <a:extLst>
              <a:ext uri="{FF2B5EF4-FFF2-40B4-BE49-F238E27FC236}">
                <a16:creationId xmlns:a16="http://schemas.microsoft.com/office/drawing/2014/main" id="{2872A3E8-1977-4DCD-9E0F-C1768821586B}"/>
              </a:ext>
            </a:extLst>
          </p:cNvPr>
          <p:cNvGrpSpPr>
            <a:grpSpLocks/>
          </p:cNvGrpSpPr>
          <p:nvPr/>
        </p:nvGrpSpPr>
        <p:grpSpPr>
          <a:xfrm flipH="1">
            <a:off x="8999276" y="3178110"/>
            <a:ext cx="594638" cy="2170060"/>
            <a:chOff x="2814452" y="3508016"/>
            <a:chExt cx="1140031" cy="1626177"/>
          </a:xfrm>
        </p:grpSpPr>
        <p:cxnSp>
          <p:nvCxnSpPr>
            <p:cNvPr id="326" name="Straight Connector 325">
              <a:extLst>
                <a:ext uri="{FF2B5EF4-FFF2-40B4-BE49-F238E27FC236}">
                  <a16:creationId xmlns:a16="http://schemas.microsoft.com/office/drawing/2014/main" id="{2C9CA691-43C7-427B-9A10-E219E2EDF72A}"/>
                </a:ext>
              </a:extLst>
            </p:cNvPr>
            <p:cNvCxnSpPr/>
            <p:nvPr/>
          </p:nvCxnSpPr>
          <p:spPr>
            <a:xfrm flipH="1">
              <a:off x="3371481" y="3508016"/>
              <a:ext cx="0" cy="1626177"/>
            </a:xfrm>
            <a:prstGeom prst="line">
              <a:avLst/>
            </a:prstGeom>
            <a:noFill/>
            <a:ln w="38100" cap="flat" cmpd="sng" algn="ctr">
              <a:solidFill>
                <a:srgbClr val="D2D2D2">
                  <a:lumMod val="75000"/>
                </a:srgbClr>
              </a:solidFill>
              <a:prstDash val="solid"/>
              <a:miter lim="800000"/>
              <a:headEnd type="none"/>
              <a:tailEnd type="none"/>
            </a:ln>
            <a:effectLst/>
          </p:spPr>
        </p:cxnSp>
        <p:cxnSp>
          <p:nvCxnSpPr>
            <p:cNvPr id="327" name="Straight Arrow Connector 326">
              <a:extLst>
                <a:ext uri="{FF2B5EF4-FFF2-40B4-BE49-F238E27FC236}">
                  <a16:creationId xmlns:a16="http://schemas.microsoft.com/office/drawing/2014/main" id="{72AB0E79-FEDC-4A17-B0B0-2FBF751976B9}"/>
                </a:ext>
              </a:extLst>
            </p:cNvPr>
            <p:cNvCxnSpPr/>
            <p:nvPr/>
          </p:nvCxnSpPr>
          <p:spPr>
            <a:xfrm flipH="1">
              <a:off x="2814452" y="3522158"/>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8" name="Straight Arrow Connector 327">
              <a:extLst>
                <a:ext uri="{FF2B5EF4-FFF2-40B4-BE49-F238E27FC236}">
                  <a16:creationId xmlns:a16="http://schemas.microsoft.com/office/drawing/2014/main" id="{774345F0-D0B4-4B32-B4F6-C7824F99E944}"/>
                </a:ext>
              </a:extLst>
            </p:cNvPr>
            <p:cNvCxnSpPr/>
            <p:nvPr/>
          </p:nvCxnSpPr>
          <p:spPr>
            <a:xfrm flipH="1">
              <a:off x="2814454" y="5116232"/>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cxnSp>
          <p:nvCxnSpPr>
            <p:cNvPr id="329" name="Straight Arrow Connector 328">
              <a:extLst>
                <a:ext uri="{FF2B5EF4-FFF2-40B4-BE49-F238E27FC236}">
                  <a16:creationId xmlns:a16="http://schemas.microsoft.com/office/drawing/2014/main" id="{C484FBE7-ED3F-4CF3-8D23-B0E729DA798C}"/>
                </a:ext>
              </a:extLst>
            </p:cNvPr>
            <p:cNvCxnSpPr/>
            <p:nvPr/>
          </p:nvCxnSpPr>
          <p:spPr>
            <a:xfrm rot="10800000" flipH="1">
              <a:off x="3408217" y="4314365"/>
              <a:ext cx="546266" cy="0"/>
            </a:xfrm>
            <a:prstGeom prst="straightConnector1">
              <a:avLst/>
            </a:prstGeom>
            <a:noFill/>
            <a:ln w="38100" cap="flat" cmpd="sng" algn="ctr">
              <a:solidFill>
                <a:srgbClr val="D2D2D2">
                  <a:lumMod val="75000"/>
                </a:srgbClr>
              </a:solidFill>
              <a:prstDash val="solid"/>
              <a:miter lim="800000"/>
              <a:headEnd type="none"/>
              <a:tailEnd type="triangle"/>
            </a:ln>
            <a:effectLst/>
          </p:spPr>
        </p:cxnSp>
      </p:grpSp>
      <p:sp>
        <p:nvSpPr>
          <p:cNvPr id="330" name="Rectangle 329">
            <a:extLst>
              <a:ext uri="{FF2B5EF4-FFF2-40B4-BE49-F238E27FC236}">
                <a16:creationId xmlns:a16="http://schemas.microsoft.com/office/drawing/2014/main" id="{1DABF2A6-DA20-44A1-937E-F1F8F905F16F}"/>
              </a:ext>
            </a:extLst>
          </p:cNvPr>
          <p:cNvSpPr/>
          <p:nvPr/>
        </p:nvSpPr>
        <p:spPr>
          <a:xfrm>
            <a:off x="9712858" y="1936122"/>
            <a:ext cx="1159127" cy="290038"/>
          </a:xfrm>
          <a:prstGeom prst="rect">
            <a:avLst/>
          </a:prstGeom>
        </p:spPr>
        <p:txBody>
          <a:bodyPr wrap="none">
            <a:spAutoFit/>
          </a:bodyPr>
          <a:lstStyle/>
          <a:p>
            <a:pPr defTabSz="914225">
              <a:lnSpc>
                <a:spcPct val="90000"/>
              </a:lnSpc>
              <a:spcAft>
                <a:spcPts val="600"/>
              </a:spcAft>
              <a:defRPr/>
            </a:pPr>
            <a:r>
              <a:rPr lang="en-US" sz="1400" b="1" kern="0" dirty="0">
                <a:solidFill>
                  <a:srgbClr val="E6E6E6">
                    <a:lumMod val="50000"/>
                  </a:srgbClr>
                </a:solidFill>
                <a:latin typeface="Segoe UI"/>
              </a:rPr>
              <a:t>Client tools</a:t>
            </a:r>
          </a:p>
        </p:txBody>
      </p:sp>
      <p:sp>
        <p:nvSpPr>
          <p:cNvPr id="331" name="Freeform 271">
            <a:extLst>
              <a:ext uri="{FF2B5EF4-FFF2-40B4-BE49-F238E27FC236}">
                <a16:creationId xmlns:a16="http://schemas.microsoft.com/office/drawing/2014/main" id="{5E0F2E7D-34FF-45EC-AEF7-33BAD8038522}"/>
              </a:ext>
            </a:extLst>
          </p:cNvPr>
          <p:cNvSpPr/>
          <p:nvPr/>
        </p:nvSpPr>
        <p:spPr>
          <a:xfrm>
            <a:off x="9917325" y="3418334"/>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2" name="TextBox 331">
            <a:extLst>
              <a:ext uri="{FF2B5EF4-FFF2-40B4-BE49-F238E27FC236}">
                <a16:creationId xmlns:a16="http://schemas.microsoft.com/office/drawing/2014/main" id="{75855361-4708-4F10-82A4-F870352F13CB}"/>
              </a:ext>
            </a:extLst>
          </p:cNvPr>
          <p:cNvSpPr txBox="1"/>
          <p:nvPr/>
        </p:nvSpPr>
        <p:spPr>
          <a:xfrm>
            <a:off x="10224118" y="3419994"/>
            <a:ext cx="1486663"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a:t>
            </a:r>
          </a:p>
        </p:txBody>
      </p:sp>
      <p:sp>
        <p:nvSpPr>
          <p:cNvPr id="333" name="TextBox 332">
            <a:extLst>
              <a:ext uri="{FF2B5EF4-FFF2-40B4-BE49-F238E27FC236}">
                <a16:creationId xmlns:a16="http://schemas.microsoft.com/office/drawing/2014/main" id="{15923F1D-1BCE-41A3-AE49-8CF3E08F0882}"/>
              </a:ext>
            </a:extLst>
          </p:cNvPr>
          <p:cNvSpPr txBox="1"/>
          <p:nvPr/>
        </p:nvSpPr>
        <p:spPr>
          <a:xfrm>
            <a:off x="10224117" y="3847818"/>
            <a:ext cx="1486665" cy="249264"/>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Embedded</a:t>
            </a:r>
          </a:p>
        </p:txBody>
      </p:sp>
      <p:sp>
        <p:nvSpPr>
          <p:cNvPr id="334" name="Freeform 271">
            <a:extLst>
              <a:ext uri="{FF2B5EF4-FFF2-40B4-BE49-F238E27FC236}">
                <a16:creationId xmlns:a16="http://schemas.microsoft.com/office/drawing/2014/main" id="{18844325-8F73-473B-BA67-1D9E6636EECB}"/>
              </a:ext>
            </a:extLst>
          </p:cNvPr>
          <p:cNvSpPr/>
          <p:nvPr/>
        </p:nvSpPr>
        <p:spPr>
          <a:xfrm>
            <a:off x="9917325" y="3855097"/>
            <a:ext cx="306792" cy="23162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sp>
        <p:nvSpPr>
          <p:cNvPr id="335" name="Freeform 266">
            <a:extLst>
              <a:ext uri="{FF2B5EF4-FFF2-40B4-BE49-F238E27FC236}">
                <a16:creationId xmlns:a16="http://schemas.microsoft.com/office/drawing/2014/main" id="{75BEA376-3579-4B11-9C0C-EC817561F566}"/>
              </a:ext>
            </a:extLst>
          </p:cNvPr>
          <p:cNvSpPr>
            <a:spLocks noChangeAspect="1"/>
          </p:cNvSpPr>
          <p:nvPr/>
        </p:nvSpPr>
        <p:spPr bwMode="black">
          <a:xfrm>
            <a:off x="11266138" y="2425481"/>
            <a:ext cx="484439" cy="2864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4225">
              <a:defRPr/>
            </a:pPr>
            <a:endParaRPr lang="en-US" sz="1764" kern="0" dirty="0">
              <a:solidFill>
                <a:sysClr val="windowText" lastClr="000000"/>
              </a:solidFill>
              <a:latin typeface="Segoe UI"/>
            </a:endParaRPr>
          </a:p>
        </p:txBody>
      </p:sp>
      <p:sp>
        <p:nvSpPr>
          <p:cNvPr id="336" name="Freeform 70">
            <a:extLst>
              <a:ext uri="{FF2B5EF4-FFF2-40B4-BE49-F238E27FC236}">
                <a16:creationId xmlns:a16="http://schemas.microsoft.com/office/drawing/2014/main" id="{09DD24C9-C93B-4D5B-9192-BB9F13EEEB29}"/>
              </a:ext>
            </a:extLst>
          </p:cNvPr>
          <p:cNvSpPr/>
          <p:nvPr/>
        </p:nvSpPr>
        <p:spPr>
          <a:xfrm>
            <a:off x="11351486" y="4439299"/>
            <a:ext cx="327624" cy="417667"/>
          </a:xfrm>
          <a:custGeom>
            <a:avLst/>
            <a:gdLst>
              <a:gd name="connsiteX0" fmla="*/ 1158342 w 4408059"/>
              <a:gd name="connsiteY0" fmla="*/ 4779035 h 5619545"/>
              <a:gd name="connsiteX1" fmla="*/ 1334176 w 4408059"/>
              <a:gd name="connsiteY1" fmla="*/ 4779035 h 5619545"/>
              <a:gd name="connsiteX2" fmla="*/ 1334176 w 4408059"/>
              <a:gd name="connsiteY2" fmla="*/ 5098731 h 5619545"/>
              <a:gd name="connsiteX3" fmla="*/ 1158342 w 4408059"/>
              <a:gd name="connsiteY3" fmla="*/ 5098731 h 5619545"/>
              <a:gd name="connsiteX4" fmla="*/ 822582 w 4408059"/>
              <a:gd name="connsiteY4" fmla="*/ 4779035 h 5619545"/>
              <a:gd name="connsiteX5" fmla="*/ 822899 w 4408059"/>
              <a:gd name="connsiteY5" fmla="*/ 4779035 h 5619545"/>
              <a:gd name="connsiteX6" fmla="*/ 990417 w 4408059"/>
              <a:gd name="connsiteY6" fmla="*/ 4779035 h 5619545"/>
              <a:gd name="connsiteX7" fmla="*/ 998733 w 4408059"/>
              <a:gd name="connsiteY7" fmla="*/ 4779035 h 5619545"/>
              <a:gd name="connsiteX8" fmla="*/ 998733 w 4408059"/>
              <a:gd name="connsiteY8" fmla="*/ 5098731 h 5619545"/>
              <a:gd name="connsiteX9" fmla="*/ 990417 w 4408059"/>
              <a:gd name="connsiteY9" fmla="*/ 5098731 h 5619545"/>
              <a:gd name="connsiteX10" fmla="*/ 822899 w 4408059"/>
              <a:gd name="connsiteY10" fmla="*/ 5098731 h 5619545"/>
              <a:gd name="connsiteX11" fmla="*/ 822582 w 4408059"/>
              <a:gd name="connsiteY11" fmla="*/ 5098731 h 5619545"/>
              <a:gd name="connsiteX12" fmla="*/ 487138 w 4408059"/>
              <a:gd name="connsiteY12" fmla="*/ 4779035 h 5619545"/>
              <a:gd name="connsiteX13" fmla="*/ 654973 w 4408059"/>
              <a:gd name="connsiteY13" fmla="*/ 4779035 h 5619545"/>
              <a:gd name="connsiteX14" fmla="*/ 654973 w 4408059"/>
              <a:gd name="connsiteY14" fmla="*/ 5098731 h 5619545"/>
              <a:gd name="connsiteX15" fmla="*/ 487138 w 4408059"/>
              <a:gd name="connsiteY15" fmla="*/ 5098731 h 5619545"/>
              <a:gd name="connsiteX16" fmla="*/ 1837729 w 4408059"/>
              <a:gd name="connsiteY16" fmla="*/ 4779027 h 5619545"/>
              <a:gd name="connsiteX17" fmla="*/ 2005564 w 4408059"/>
              <a:gd name="connsiteY17" fmla="*/ 4779027 h 5619545"/>
              <a:gd name="connsiteX18" fmla="*/ 2005564 w 4408059"/>
              <a:gd name="connsiteY18" fmla="*/ 5098723 h 5619545"/>
              <a:gd name="connsiteX19" fmla="*/ 1837729 w 4408059"/>
              <a:gd name="connsiteY19" fmla="*/ 5098723 h 5619545"/>
              <a:gd name="connsiteX20" fmla="*/ 1502057 w 4408059"/>
              <a:gd name="connsiteY20" fmla="*/ 4779027 h 5619545"/>
              <a:gd name="connsiteX21" fmla="*/ 1669892 w 4408059"/>
              <a:gd name="connsiteY21" fmla="*/ 4779027 h 5619545"/>
              <a:gd name="connsiteX22" fmla="*/ 1669892 w 4408059"/>
              <a:gd name="connsiteY22" fmla="*/ 5098723 h 5619545"/>
              <a:gd name="connsiteX23" fmla="*/ 1502057 w 4408059"/>
              <a:gd name="connsiteY23" fmla="*/ 5098723 h 5619545"/>
              <a:gd name="connsiteX24" fmla="*/ 3040415 w 4408059"/>
              <a:gd name="connsiteY24" fmla="*/ 4596613 h 5619545"/>
              <a:gd name="connsiteX25" fmla="*/ 3216249 w 4408059"/>
              <a:gd name="connsiteY25" fmla="*/ 4596613 h 5619545"/>
              <a:gd name="connsiteX26" fmla="*/ 3216249 w 4408059"/>
              <a:gd name="connsiteY26" fmla="*/ 4916310 h 5619545"/>
              <a:gd name="connsiteX27" fmla="*/ 3040415 w 4408059"/>
              <a:gd name="connsiteY27" fmla="*/ 4916310 h 5619545"/>
              <a:gd name="connsiteX28" fmla="*/ 2704655 w 4408059"/>
              <a:gd name="connsiteY28" fmla="*/ 4596613 h 5619545"/>
              <a:gd name="connsiteX29" fmla="*/ 2872490 w 4408059"/>
              <a:gd name="connsiteY29" fmla="*/ 4596613 h 5619545"/>
              <a:gd name="connsiteX30" fmla="*/ 2872490 w 4408059"/>
              <a:gd name="connsiteY30" fmla="*/ 4916310 h 5619545"/>
              <a:gd name="connsiteX31" fmla="*/ 2704655 w 4408059"/>
              <a:gd name="connsiteY31" fmla="*/ 4916310 h 5619545"/>
              <a:gd name="connsiteX32" fmla="*/ 3719802 w 4408059"/>
              <a:gd name="connsiteY32" fmla="*/ 4596602 h 5619545"/>
              <a:gd name="connsiteX33" fmla="*/ 3887637 w 4408059"/>
              <a:gd name="connsiteY33" fmla="*/ 4596602 h 5619545"/>
              <a:gd name="connsiteX34" fmla="*/ 3887637 w 4408059"/>
              <a:gd name="connsiteY34" fmla="*/ 4916299 h 5619545"/>
              <a:gd name="connsiteX35" fmla="*/ 3719802 w 4408059"/>
              <a:gd name="connsiteY35" fmla="*/ 4916299 h 5619545"/>
              <a:gd name="connsiteX36" fmla="*/ 3384129 w 4408059"/>
              <a:gd name="connsiteY36" fmla="*/ 4596602 h 5619545"/>
              <a:gd name="connsiteX37" fmla="*/ 3551964 w 4408059"/>
              <a:gd name="connsiteY37" fmla="*/ 4596602 h 5619545"/>
              <a:gd name="connsiteX38" fmla="*/ 3551964 w 4408059"/>
              <a:gd name="connsiteY38" fmla="*/ 4916299 h 5619545"/>
              <a:gd name="connsiteX39" fmla="*/ 3384129 w 4408059"/>
              <a:gd name="connsiteY39" fmla="*/ 4916299 h 5619545"/>
              <a:gd name="connsiteX40" fmla="*/ 1158376 w 4408059"/>
              <a:gd name="connsiteY40" fmla="*/ 4094512 h 5619545"/>
              <a:gd name="connsiteX41" fmla="*/ 1334211 w 4408059"/>
              <a:gd name="connsiteY41" fmla="*/ 4094512 h 5619545"/>
              <a:gd name="connsiteX42" fmla="*/ 1334211 w 4408059"/>
              <a:gd name="connsiteY42" fmla="*/ 4414208 h 5619545"/>
              <a:gd name="connsiteX43" fmla="*/ 1158376 w 4408059"/>
              <a:gd name="connsiteY43" fmla="*/ 4414208 h 5619545"/>
              <a:gd name="connsiteX44" fmla="*/ 822703 w 4408059"/>
              <a:gd name="connsiteY44" fmla="*/ 4094512 h 5619545"/>
              <a:gd name="connsiteX45" fmla="*/ 822932 w 4408059"/>
              <a:gd name="connsiteY45" fmla="*/ 4094512 h 5619545"/>
              <a:gd name="connsiteX46" fmla="*/ 990538 w 4408059"/>
              <a:gd name="connsiteY46" fmla="*/ 4094512 h 5619545"/>
              <a:gd name="connsiteX47" fmla="*/ 998766 w 4408059"/>
              <a:gd name="connsiteY47" fmla="*/ 4094512 h 5619545"/>
              <a:gd name="connsiteX48" fmla="*/ 998766 w 4408059"/>
              <a:gd name="connsiteY48" fmla="*/ 4414208 h 5619545"/>
              <a:gd name="connsiteX49" fmla="*/ 990538 w 4408059"/>
              <a:gd name="connsiteY49" fmla="*/ 4414208 h 5619545"/>
              <a:gd name="connsiteX50" fmla="*/ 822932 w 4408059"/>
              <a:gd name="connsiteY50" fmla="*/ 4414208 h 5619545"/>
              <a:gd name="connsiteX51" fmla="*/ 822703 w 4408059"/>
              <a:gd name="connsiteY51" fmla="*/ 4414208 h 5619545"/>
              <a:gd name="connsiteX52" fmla="*/ 487259 w 4408059"/>
              <a:gd name="connsiteY52" fmla="*/ 4094512 h 5619545"/>
              <a:gd name="connsiteX53" fmla="*/ 655094 w 4408059"/>
              <a:gd name="connsiteY53" fmla="*/ 4094512 h 5619545"/>
              <a:gd name="connsiteX54" fmla="*/ 655094 w 4408059"/>
              <a:gd name="connsiteY54" fmla="*/ 4414208 h 5619545"/>
              <a:gd name="connsiteX55" fmla="*/ 487259 w 4408059"/>
              <a:gd name="connsiteY55" fmla="*/ 4414208 h 5619545"/>
              <a:gd name="connsiteX56" fmla="*/ 1837729 w 4408059"/>
              <a:gd name="connsiteY56" fmla="*/ 4094498 h 5619545"/>
              <a:gd name="connsiteX57" fmla="*/ 2005564 w 4408059"/>
              <a:gd name="connsiteY57" fmla="*/ 4094498 h 5619545"/>
              <a:gd name="connsiteX58" fmla="*/ 2005564 w 4408059"/>
              <a:gd name="connsiteY58" fmla="*/ 4414195 h 5619545"/>
              <a:gd name="connsiteX59" fmla="*/ 1837729 w 4408059"/>
              <a:gd name="connsiteY59" fmla="*/ 4414195 h 5619545"/>
              <a:gd name="connsiteX60" fmla="*/ 1502057 w 4408059"/>
              <a:gd name="connsiteY60" fmla="*/ 4094498 h 5619545"/>
              <a:gd name="connsiteX61" fmla="*/ 1669892 w 4408059"/>
              <a:gd name="connsiteY61" fmla="*/ 4094498 h 5619545"/>
              <a:gd name="connsiteX62" fmla="*/ 1669892 w 4408059"/>
              <a:gd name="connsiteY62" fmla="*/ 4414195 h 5619545"/>
              <a:gd name="connsiteX63" fmla="*/ 1502057 w 4408059"/>
              <a:gd name="connsiteY63" fmla="*/ 4414195 h 5619545"/>
              <a:gd name="connsiteX64" fmla="*/ 3040448 w 4408059"/>
              <a:gd name="connsiteY64" fmla="*/ 3912088 h 5619545"/>
              <a:gd name="connsiteX65" fmla="*/ 3216282 w 4408059"/>
              <a:gd name="connsiteY65" fmla="*/ 3912088 h 5619545"/>
              <a:gd name="connsiteX66" fmla="*/ 3216282 w 4408059"/>
              <a:gd name="connsiteY66" fmla="*/ 4231784 h 5619545"/>
              <a:gd name="connsiteX67" fmla="*/ 3040448 w 4408059"/>
              <a:gd name="connsiteY67" fmla="*/ 4231784 h 5619545"/>
              <a:gd name="connsiteX68" fmla="*/ 2704776 w 4408059"/>
              <a:gd name="connsiteY68" fmla="*/ 3912088 h 5619545"/>
              <a:gd name="connsiteX69" fmla="*/ 2872611 w 4408059"/>
              <a:gd name="connsiteY69" fmla="*/ 3912088 h 5619545"/>
              <a:gd name="connsiteX70" fmla="*/ 2872611 w 4408059"/>
              <a:gd name="connsiteY70" fmla="*/ 4231784 h 5619545"/>
              <a:gd name="connsiteX71" fmla="*/ 2704776 w 4408059"/>
              <a:gd name="connsiteY71" fmla="*/ 4231784 h 5619545"/>
              <a:gd name="connsiteX72" fmla="*/ 3719802 w 4408059"/>
              <a:gd name="connsiteY72" fmla="*/ 3912077 h 5619545"/>
              <a:gd name="connsiteX73" fmla="*/ 3887637 w 4408059"/>
              <a:gd name="connsiteY73" fmla="*/ 3912077 h 5619545"/>
              <a:gd name="connsiteX74" fmla="*/ 3887637 w 4408059"/>
              <a:gd name="connsiteY74" fmla="*/ 4231773 h 5619545"/>
              <a:gd name="connsiteX75" fmla="*/ 3719802 w 4408059"/>
              <a:gd name="connsiteY75" fmla="*/ 4231773 h 5619545"/>
              <a:gd name="connsiteX76" fmla="*/ 3384129 w 4408059"/>
              <a:gd name="connsiteY76" fmla="*/ 3912077 h 5619545"/>
              <a:gd name="connsiteX77" fmla="*/ 3551964 w 4408059"/>
              <a:gd name="connsiteY77" fmla="*/ 3912077 h 5619545"/>
              <a:gd name="connsiteX78" fmla="*/ 3551964 w 4408059"/>
              <a:gd name="connsiteY78" fmla="*/ 4231773 h 5619545"/>
              <a:gd name="connsiteX79" fmla="*/ 3384129 w 4408059"/>
              <a:gd name="connsiteY79" fmla="*/ 4231773 h 5619545"/>
              <a:gd name="connsiteX80" fmla="*/ 1158376 w 4408059"/>
              <a:gd name="connsiteY80" fmla="*/ 3409987 h 5619545"/>
              <a:gd name="connsiteX81" fmla="*/ 1334211 w 4408059"/>
              <a:gd name="connsiteY81" fmla="*/ 3409987 h 5619545"/>
              <a:gd name="connsiteX82" fmla="*/ 1334211 w 4408059"/>
              <a:gd name="connsiteY82" fmla="*/ 3729683 h 5619545"/>
              <a:gd name="connsiteX83" fmla="*/ 1158376 w 4408059"/>
              <a:gd name="connsiteY83" fmla="*/ 3729683 h 5619545"/>
              <a:gd name="connsiteX84" fmla="*/ 822703 w 4408059"/>
              <a:gd name="connsiteY84" fmla="*/ 3409987 h 5619545"/>
              <a:gd name="connsiteX85" fmla="*/ 822932 w 4408059"/>
              <a:gd name="connsiteY85" fmla="*/ 3409987 h 5619545"/>
              <a:gd name="connsiteX86" fmla="*/ 990538 w 4408059"/>
              <a:gd name="connsiteY86" fmla="*/ 3409987 h 5619545"/>
              <a:gd name="connsiteX87" fmla="*/ 998766 w 4408059"/>
              <a:gd name="connsiteY87" fmla="*/ 3409987 h 5619545"/>
              <a:gd name="connsiteX88" fmla="*/ 998766 w 4408059"/>
              <a:gd name="connsiteY88" fmla="*/ 3729683 h 5619545"/>
              <a:gd name="connsiteX89" fmla="*/ 990538 w 4408059"/>
              <a:gd name="connsiteY89" fmla="*/ 3729683 h 5619545"/>
              <a:gd name="connsiteX90" fmla="*/ 822932 w 4408059"/>
              <a:gd name="connsiteY90" fmla="*/ 3729683 h 5619545"/>
              <a:gd name="connsiteX91" fmla="*/ 822703 w 4408059"/>
              <a:gd name="connsiteY91" fmla="*/ 3729683 h 5619545"/>
              <a:gd name="connsiteX92" fmla="*/ 487259 w 4408059"/>
              <a:gd name="connsiteY92" fmla="*/ 3409987 h 5619545"/>
              <a:gd name="connsiteX93" fmla="*/ 655094 w 4408059"/>
              <a:gd name="connsiteY93" fmla="*/ 3409987 h 5619545"/>
              <a:gd name="connsiteX94" fmla="*/ 655094 w 4408059"/>
              <a:gd name="connsiteY94" fmla="*/ 3729683 h 5619545"/>
              <a:gd name="connsiteX95" fmla="*/ 487259 w 4408059"/>
              <a:gd name="connsiteY95" fmla="*/ 3729683 h 5619545"/>
              <a:gd name="connsiteX96" fmla="*/ 1837729 w 4408059"/>
              <a:gd name="connsiteY96" fmla="*/ 3409976 h 5619545"/>
              <a:gd name="connsiteX97" fmla="*/ 2005564 w 4408059"/>
              <a:gd name="connsiteY97" fmla="*/ 3409976 h 5619545"/>
              <a:gd name="connsiteX98" fmla="*/ 2005564 w 4408059"/>
              <a:gd name="connsiteY98" fmla="*/ 3729672 h 5619545"/>
              <a:gd name="connsiteX99" fmla="*/ 1837729 w 4408059"/>
              <a:gd name="connsiteY99" fmla="*/ 3729672 h 5619545"/>
              <a:gd name="connsiteX100" fmla="*/ 1502057 w 4408059"/>
              <a:gd name="connsiteY100" fmla="*/ 3409976 h 5619545"/>
              <a:gd name="connsiteX101" fmla="*/ 1669892 w 4408059"/>
              <a:gd name="connsiteY101" fmla="*/ 3409976 h 5619545"/>
              <a:gd name="connsiteX102" fmla="*/ 1669892 w 4408059"/>
              <a:gd name="connsiteY102" fmla="*/ 3729672 h 5619545"/>
              <a:gd name="connsiteX103" fmla="*/ 1502057 w 4408059"/>
              <a:gd name="connsiteY103" fmla="*/ 3729672 h 5619545"/>
              <a:gd name="connsiteX104" fmla="*/ 3040448 w 4408059"/>
              <a:gd name="connsiteY104" fmla="*/ 3227562 h 5619545"/>
              <a:gd name="connsiteX105" fmla="*/ 3216282 w 4408059"/>
              <a:gd name="connsiteY105" fmla="*/ 3227562 h 5619545"/>
              <a:gd name="connsiteX106" fmla="*/ 3216282 w 4408059"/>
              <a:gd name="connsiteY106" fmla="*/ 3547258 h 5619545"/>
              <a:gd name="connsiteX107" fmla="*/ 3040448 w 4408059"/>
              <a:gd name="connsiteY107" fmla="*/ 3547258 h 5619545"/>
              <a:gd name="connsiteX108" fmla="*/ 2704776 w 4408059"/>
              <a:gd name="connsiteY108" fmla="*/ 3227562 h 5619545"/>
              <a:gd name="connsiteX109" fmla="*/ 2872611 w 4408059"/>
              <a:gd name="connsiteY109" fmla="*/ 3227562 h 5619545"/>
              <a:gd name="connsiteX110" fmla="*/ 2872611 w 4408059"/>
              <a:gd name="connsiteY110" fmla="*/ 3547258 h 5619545"/>
              <a:gd name="connsiteX111" fmla="*/ 2704776 w 4408059"/>
              <a:gd name="connsiteY111" fmla="*/ 3547258 h 5619545"/>
              <a:gd name="connsiteX112" fmla="*/ 3719802 w 4408059"/>
              <a:gd name="connsiteY112" fmla="*/ 3227551 h 5619545"/>
              <a:gd name="connsiteX113" fmla="*/ 3887637 w 4408059"/>
              <a:gd name="connsiteY113" fmla="*/ 3227551 h 5619545"/>
              <a:gd name="connsiteX114" fmla="*/ 3887637 w 4408059"/>
              <a:gd name="connsiteY114" fmla="*/ 3547247 h 5619545"/>
              <a:gd name="connsiteX115" fmla="*/ 3719802 w 4408059"/>
              <a:gd name="connsiteY115" fmla="*/ 3547247 h 5619545"/>
              <a:gd name="connsiteX116" fmla="*/ 3384129 w 4408059"/>
              <a:gd name="connsiteY116" fmla="*/ 3227551 h 5619545"/>
              <a:gd name="connsiteX117" fmla="*/ 3551964 w 4408059"/>
              <a:gd name="connsiteY117" fmla="*/ 3227551 h 5619545"/>
              <a:gd name="connsiteX118" fmla="*/ 3551964 w 4408059"/>
              <a:gd name="connsiteY118" fmla="*/ 3547247 h 5619545"/>
              <a:gd name="connsiteX119" fmla="*/ 3384129 w 4408059"/>
              <a:gd name="connsiteY119" fmla="*/ 3547247 h 5619545"/>
              <a:gd name="connsiteX120" fmla="*/ 1158376 w 4408059"/>
              <a:gd name="connsiteY120" fmla="*/ 2725458 h 5619545"/>
              <a:gd name="connsiteX121" fmla="*/ 1334211 w 4408059"/>
              <a:gd name="connsiteY121" fmla="*/ 2725458 h 5619545"/>
              <a:gd name="connsiteX122" fmla="*/ 1334211 w 4408059"/>
              <a:gd name="connsiteY122" fmla="*/ 3045154 h 5619545"/>
              <a:gd name="connsiteX123" fmla="*/ 1158376 w 4408059"/>
              <a:gd name="connsiteY123" fmla="*/ 3045154 h 5619545"/>
              <a:gd name="connsiteX124" fmla="*/ 822703 w 4408059"/>
              <a:gd name="connsiteY124" fmla="*/ 2725458 h 5619545"/>
              <a:gd name="connsiteX125" fmla="*/ 822932 w 4408059"/>
              <a:gd name="connsiteY125" fmla="*/ 2725458 h 5619545"/>
              <a:gd name="connsiteX126" fmla="*/ 990538 w 4408059"/>
              <a:gd name="connsiteY126" fmla="*/ 2725458 h 5619545"/>
              <a:gd name="connsiteX127" fmla="*/ 998766 w 4408059"/>
              <a:gd name="connsiteY127" fmla="*/ 2725458 h 5619545"/>
              <a:gd name="connsiteX128" fmla="*/ 998766 w 4408059"/>
              <a:gd name="connsiteY128" fmla="*/ 3045154 h 5619545"/>
              <a:gd name="connsiteX129" fmla="*/ 990538 w 4408059"/>
              <a:gd name="connsiteY129" fmla="*/ 3045154 h 5619545"/>
              <a:gd name="connsiteX130" fmla="*/ 822932 w 4408059"/>
              <a:gd name="connsiteY130" fmla="*/ 3045154 h 5619545"/>
              <a:gd name="connsiteX131" fmla="*/ 822703 w 4408059"/>
              <a:gd name="connsiteY131" fmla="*/ 3045154 h 5619545"/>
              <a:gd name="connsiteX132" fmla="*/ 487259 w 4408059"/>
              <a:gd name="connsiteY132" fmla="*/ 2725458 h 5619545"/>
              <a:gd name="connsiteX133" fmla="*/ 655094 w 4408059"/>
              <a:gd name="connsiteY133" fmla="*/ 2725458 h 5619545"/>
              <a:gd name="connsiteX134" fmla="*/ 655094 w 4408059"/>
              <a:gd name="connsiteY134" fmla="*/ 3045154 h 5619545"/>
              <a:gd name="connsiteX135" fmla="*/ 487259 w 4408059"/>
              <a:gd name="connsiteY135" fmla="*/ 3045154 h 5619545"/>
              <a:gd name="connsiteX136" fmla="*/ 1837729 w 4408059"/>
              <a:gd name="connsiteY136" fmla="*/ 2725453 h 5619545"/>
              <a:gd name="connsiteX137" fmla="*/ 2005564 w 4408059"/>
              <a:gd name="connsiteY137" fmla="*/ 2725453 h 5619545"/>
              <a:gd name="connsiteX138" fmla="*/ 2005564 w 4408059"/>
              <a:gd name="connsiteY138" fmla="*/ 3045149 h 5619545"/>
              <a:gd name="connsiteX139" fmla="*/ 1837729 w 4408059"/>
              <a:gd name="connsiteY139" fmla="*/ 3045149 h 5619545"/>
              <a:gd name="connsiteX140" fmla="*/ 1502057 w 4408059"/>
              <a:gd name="connsiteY140" fmla="*/ 2725453 h 5619545"/>
              <a:gd name="connsiteX141" fmla="*/ 1669892 w 4408059"/>
              <a:gd name="connsiteY141" fmla="*/ 2725453 h 5619545"/>
              <a:gd name="connsiteX142" fmla="*/ 1669892 w 4408059"/>
              <a:gd name="connsiteY142" fmla="*/ 3045149 h 5619545"/>
              <a:gd name="connsiteX143" fmla="*/ 1502057 w 4408059"/>
              <a:gd name="connsiteY143" fmla="*/ 3045149 h 5619545"/>
              <a:gd name="connsiteX144" fmla="*/ 3040448 w 4408059"/>
              <a:gd name="connsiteY144" fmla="*/ 2543036 h 5619545"/>
              <a:gd name="connsiteX145" fmla="*/ 3216282 w 4408059"/>
              <a:gd name="connsiteY145" fmla="*/ 2543036 h 5619545"/>
              <a:gd name="connsiteX146" fmla="*/ 3216282 w 4408059"/>
              <a:gd name="connsiteY146" fmla="*/ 2862733 h 5619545"/>
              <a:gd name="connsiteX147" fmla="*/ 3040448 w 4408059"/>
              <a:gd name="connsiteY147" fmla="*/ 2862733 h 5619545"/>
              <a:gd name="connsiteX148" fmla="*/ 2704776 w 4408059"/>
              <a:gd name="connsiteY148" fmla="*/ 2543036 h 5619545"/>
              <a:gd name="connsiteX149" fmla="*/ 2872611 w 4408059"/>
              <a:gd name="connsiteY149" fmla="*/ 2543036 h 5619545"/>
              <a:gd name="connsiteX150" fmla="*/ 2872611 w 4408059"/>
              <a:gd name="connsiteY150" fmla="*/ 2862733 h 5619545"/>
              <a:gd name="connsiteX151" fmla="*/ 2704776 w 4408059"/>
              <a:gd name="connsiteY151" fmla="*/ 2862733 h 5619545"/>
              <a:gd name="connsiteX152" fmla="*/ 3719802 w 4408059"/>
              <a:gd name="connsiteY152" fmla="*/ 2543028 h 5619545"/>
              <a:gd name="connsiteX153" fmla="*/ 3887637 w 4408059"/>
              <a:gd name="connsiteY153" fmla="*/ 2543028 h 5619545"/>
              <a:gd name="connsiteX154" fmla="*/ 3887637 w 4408059"/>
              <a:gd name="connsiteY154" fmla="*/ 2862724 h 5619545"/>
              <a:gd name="connsiteX155" fmla="*/ 3719802 w 4408059"/>
              <a:gd name="connsiteY155" fmla="*/ 2862724 h 5619545"/>
              <a:gd name="connsiteX156" fmla="*/ 3384129 w 4408059"/>
              <a:gd name="connsiteY156" fmla="*/ 2543028 h 5619545"/>
              <a:gd name="connsiteX157" fmla="*/ 3551964 w 4408059"/>
              <a:gd name="connsiteY157" fmla="*/ 2543028 h 5619545"/>
              <a:gd name="connsiteX158" fmla="*/ 3551964 w 4408059"/>
              <a:gd name="connsiteY158" fmla="*/ 2862724 h 5619545"/>
              <a:gd name="connsiteX159" fmla="*/ 3384129 w 4408059"/>
              <a:gd name="connsiteY159" fmla="*/ 2862724 h 5619545"/>
              <a:gd name="connsiteX160" fmla="*/ 2496542 w 4408059"/>
              <a:gd name="connsiteY160" fmla="*/ 2045507 h 5619545"/>
              <a:gd name="connsiteX161" fmla="*/ 2496542 w 4408059"/>
              <a:gd name="connsiteY161" fmla="*/ 5356750 h 5619545"/>
              <a:gd name="connsiteX162" fmla="*/ 4144172 w 4408059"/>
              <a:gd name="connsiteY162" fmla="*/ 5356750 h 5619545"/>
              <a:gd name="connsiteX163" fmla="*/ 4144172 w 4408059"/>
              <a:gd name="connsiteY163" fmla="*/ 2045507 h 5619545"/>
              <a:gd name="connsiteX164" fmla="*/ 1158376 w 4408059"/>
              <a:gd name="connsiteY164" fmla="*/ 2040932 h 5619545"/>
              <a:gd name="connsiteX165" fmla="*/ 1334211 w 4408059"/>
              <a:gd name="connsiteY165" fmla="*/ 2040932 h 5619545"/>
              <a:gd name="connsiteX166" fmla="*/ 1334211 w 4408059"/>
              <a:gd name="connsiteY166" fmla="*/ 2360629 h 5619545"/>
              <a:gd name="connsiteX167" fmla="*/ 1158376 w 4408059"/>
              <a:gd name="connsiteY167" fmla="*/ 2360629 h 5619545"/>
              <a:gd name="connsiteX168" fmla="*/ 822703 w 4408059"/>
              <a:gd name="connsiteY168" fmla="*/ 2040932 h 5619545"/>
              <a:gd name="connsiteX169" fmla="*/ 822932 w 4408059"/>
              <a:gd name="connsiteY169" fmla="*/ 2040932 h 5619545"/>
              <a:gd name="connsiteX170" fmla="*/ 990538 w 4408059"/>
              <a:gd name="connsiteY170" fmla="*/ 2040932 h 5619545"/>
              <a:gd name="connsiteX171" fmla="*/ 998766 w 4408059"/>
              <a:gd name="connsiteY171" fmla="*/ 2040932 h 5619545"/>
              <a:gd name="connsiteX172" fmla="*/ 998766 w 4408059"/>
              <a:gd name="connsiteY172" fmla="*/ 2360629 h 5619545"/>
              <a:gd name="connsiteX173" fmla="*/ 990538 w 4408059"/>
              <a:gd name="connsiteY173" fmla="*/ 2360629 h 5619545"/>
              <a:gd name="connsiteX174" fmla="*/ 822932 w 4408059"/>
              <a:gd name="connsiteY174" fmla="*/ 2360629 h 5619545"/>
              <a:gd name="connsiteX175" fmla="*/ 822703 w 4408059"/>
              <a:gd name="connsiteY175" fmla="*/ 2360629 h 5619545"/>
              <a:gd name="connsiteX176" fmla="*/ 487259 w 4408059"/>
              <a:gd name="connsiteY176" fmla="*/ 2040932 h 5619545"/>
              <a:gd name="connsiteX177" fmla="*/ 655094 w 4408059"/>
              <a:gd name="connsiteY177" fmla="*/ 2040932 h 5619545"/>
              <a:gd name="connsiteX178" fmla="*/ 655094 w 4408059"/>
              <a:gd name="connsiteY178" fmla="*/ 2360629 h 5619545"/>
              <a:gd name="connsiteX179" fmla="*/ 487259 w 4408059"/>
              <a:gd name="connsiteY179" fmla="*/ 2360629 h 5619545"/>
              <a:gd name="connsiteX180" fmla="*/ 1837729 w 4408059"/>
              <a:gd name="connsiteY180" fmla="*/ 2040927 h 5619545"/>
              <a:gd name="connsiteX181" fmla="*/ 2005564 w 4408059"/>
              <a:gd name="connsiteY181" fmla="*/ 2040927 h 5619545"/>
              <a:gd name="connsiteX182" fmla="*/ 2005564 w 4408059"/>
              <a:gd name="connsiteY182" fmla="*/ 2360623 h 5619545"/>
              <a:gd name="connsiteX183" fmla="*/ 1837729 w 4408059"/>
              <a:gd name="connsiteY183" fmla="*/ 2360623 h 5619545"/>
              <a:gd name="connsiteX184" fmla="*/ 1502057 w 4408059"/>
              <a:gd name="connsiteY184" fmla="*/ 2040927 h 5619545"/>
              <a:gd name="connsiteX185" fmla="*/ 1669892 w 4408059"/>
              <a:gd name="connsiteY185" fmla="*/ 2040927 h 5619545"/>
              <a:gd name="connsiteX186" fmla="*/ 1669892 w 4408059"/>
              <a:gd name="connsiteY186" fmla="*/ 2360623 h 5619545"/>
              <a:gd name="connsiteX187" fmla="*/ 1502057 w 4408059"/>
              <a:gd name="connsiteY187" fmla="*/ 2360623 h 5619545"/>
              <a:gd name="connsiteX188" fmla="*/ 1158376 w 4408059"/>
              <a:gd name="connsiteY188" fmla="*/ 1356407 h 5619545"/>
              <a:gd name="connsiteX189" fmla="*/ 1334211 w 4408059"/>
              <a:gd name="connsiteY189" fmla="*/ 1356407 h 5619545"/>
              <a:gd name="connsiteX190" fmla="*/ 1334211 w 4408059"/>
              <a:gd name="connsiteY190" fmla="*/ 1676103 h 5619545"/>
              <a:gd name="connsiteX191" fmla="*/ 1158376 w 4408059"/>
              <a:gd name="connsiteY191" fmla="*/ 1676103 h 5619545"/>
              <a:gd name="connsiteX192" fmla="*/ 822703 w 4408059"/>
              <a:gd name="connsiteY192" fmla="*/ 1356407 h 5619545"/>
              <a:gd name="connsiteX193" fmla="*/ 822932 w 4408059"/>
              <a:gd name="connsiteY193" fmla="*/ 1356407 h 5619545"/>
              <a:gd name="connsiteX194" fmla="*/ 990538 w 4408059"/>
              <a:gd name="connsiteY194" fmla="*/ 1356407 h 5619545"/>
              <a:gd name="connsiteX195" fmla="*/ 998766 w 4408059"/>
              <a:gd name="connsiteY195" fmla="*/ 1356407 h 5619545"/>
              <a:gd name="connsiteX196" fmla="*/ 998766 w 4408059"/>
              <a:gd name="connsiteY196" fmla="*/ 1676103 h 5619545"/>
              <a:gd name="connsiteX197" fmla="*/ 990538 w 4408059"/>
              <a:gd name="connsiteY197" fmla="*/ 1676103 h 5619545"/>
              <a:gd name="connsiteX198" fmla="*/ 822932 w 4408059"/>
              <a:gd name="connsiteY198" fmla="*/ 1676103 h 5619545"/>
              <a:gd name="connsiteX199" fmla="*/ 822703 w 4408059"/>
              <a:gd name="connsiteY199" fmla="*/ 1676103 h 5619545"/>
              <a:gd name="connsiteX200" fmla="*/ 487259 w 4408059"/>
              <a:gd name="connsiteY200" fmla="*/ 1356407 h 5619545"/>
              <a:gd name="connsiteX201" fmla="*/ 655094 w 4408059"/>
              <a:gd name="connsiteY201" fmla="*/ 1356407 h 5619545"/>
              <a:gd name="connsiteX202" fmla="*/ 655094 w 4408059"/>
              <a:gd name="connsiteY202" fmla="*/ 1676103 h 5619545"/>
              <a:gd name="connsiteX203" fmla="*/ 487259 w 4408059"/>
              <a:gd name="connsiteY203" fmla="*/ 1676103 h 5619545"/>
              <a:gd name="connsiteX204" fmla="*/ 1837729 w 4408059"/>
              <a:gd name="connsiteY204" fmla="*/ 1356404 h 5619545"/>
              <a:gd name="connsiteX205" fmla="*/ 2005564 w 4408059"/>
              <a:gd name="connsiteY205" fmla="*/ 1356404 h 5619545"/>
              <a:gd name="connsiteX206" fmla="*/ 2005564 w 4408059"/>
              <a:gd name="connsiteY206" fmla="*/ 1676100 h 5619545"/>
              <a:gd name="connsiteX207" fmla="*/ 1837729 w 4408059"/>
              <a:gd name="connsiteY207" fmla="*/ 1676100 h 5619545"/>
              <a:gd name="connsiteX208" fmla="*/ 1502057 w 4408059"/>
              <a:gd name="connsiteY208" fmla="*/ 1356404 h 5619545"/>
              <a:gd name="connsiteX209" fmla="*/ 1669892 w 4408059"/>
              <a:gd name="connsiteY209" fmla="*/ 1356404 h 5619545"/>
              <a:gd name="connsiteX210" fmla="*/ 1669892 w 4408059"/>
              <a:gd name="connsiteY210" fmla="*/ 1676100 h 5619545"/>
              <a:gd name="connsiteX211" fmla="*/ 1502057 w 4408059"/>
              <a:gd name="connsiteY211" fmla="*/ 1676100 h 5619545"/>
              <a:gd name="connsiteX212" fmla="*/ 487259 w 4408059"/>
              <a:gd name="connsiteY212" fmla="*/ 671886 h 5619545"/>
              <a:gd name="connsiteX213" fmla="*/ 655094 w 4408059"/>
              <a:gd name="connsiteY213" fmla="*/ 671886 h 5619545"/>
              <a:gd name="connsiteX214" fmla="*/ 655094 w 4408059"/>
              <a:gd name="connsiteY214" fmla="*/ 991581 h 5619545"/>
              <a:gd name="connsiteX215" fmla="*/ 487259 w 4408059"/>
              <a:gd name="connsiteY215" fmla="*/ 991581 h 5619545"/>
              <a:gd name="connsiteX216" fmla="*/ 1502057 w 4408059"/>
              <a:gd name="connsiteY216" fmla="*/ 671885 h 5619545"/>
              <a:gd name="connsiteX217" fmla="*/ 1669892 w 4408059"/>
              <a:gd name="connsiteY217" fmla="*/ 671885 h 5619545"/>
              <a:gd name="connsiteX218" fmla="*/ 1669892 w 4408059"/>
              <a:gd name="connsiteY218" fmla="*/ 991581 h 5619545"/>
              <a:gd name="connsiteX219" fmla="*/ 1502057 w 4408059"/>
              <a:gd name="connsiteY219" fmla="*/ 991581 h 5619545"/>
              <a:gd name="connsiteX220" fmla="*/ 1158376 w 4408059"/>
              <a:gd name="connsiteY220" fmla="*/ 671885 h 5619545"/>
              <a:gd name="connsiteX221" fmla="*/ 1334211 w 4408059"/>
              <a:gd name="connsiteY221" fmla="*/ 671885 h 5619545"/>
              <a:gd name="connsiteX222" fmla="*/ 1334211 w 4408059"/>
              <a:gd name="connsiteY222" fmla="*/ 991581 h 5619545"/>
              <a:gd name="connsiteX223" fmla="*/ 1158376 w 4408059"/>
              <a:gd name="connsiteY223" fmla="*/ 991581 h 5619545"/>
              <a:gd name="connsiteX224" fmla="*/ 822703 w 4408059"/>
              <a:gd name="connsiteY224" fmla="*/ 671885 h 5619545"/>
              <a:gd name="connsiteX225" fmla="*/ 822932 w 4408059"/>
              <a:gd name="connsiteY225" fmla="*/ 671885 h 5619545"/>
              <a:gd name="connsiteX226" fmla="*/ 990538 w 4408059"/>
              <a:gd name="connsiteY226" fmla="*/ 671885 h 5619545"/>
              <a:gd name="connsiteX227" fmla="*/ 998766 w 4408059"/>
              <a:gd name="connsiteY227" fmla="*/ 671885 h 5619545"/>
              <a:gd name="connsiteX228" fmla="*/ 998766 w 4408059"/>
              <a:gd name="connsiteY228" fmla="*/ 991581 h 5619545"/>
              <a:gd name="connsiteX229" fmla="*/ 990538 w 4408059"/>
              <a:gd name="connsiteY229" fmla="*/ 991581 h 5619545"/>
              <a:gd name="connsiteX230" fmla="*/ 822932 w 4408059"/>
              <a:gd name="connsiteY230" fmla="*/ 991581 h 5619545"/>
              <a:gd name="connsiteX231" fmla="*/ 822703 w 4408059"/>
              <a:gd name="connsiteY231" fmla="*/ 991581 h 5619545"/>
              <a:gd name="connsiteX232" fmla="*/ 1837729 w 4408059"/>
              <a:gd name="connsiteY232" fmla="*/ 671885 h 5619545"/>
              <a:gd name="connsiteX233" fmla="*/ 2005564 w 4408059"/>
              <a:gd name="connsiteY233" fmla="*/ 671885 h 5619545"/>
              <a:gd name="connsiteX234" fmla="*/ 2005564 w 4408059"/>
              <a:gd name="connsiteY234" fmla="*/ 991581 h 5619545"/>
              <a:gd name="connsiteX235" fmla="*/ 1837729 w 4408059"/>
              <a:gd name="connsiteY235" fmla="*/ 991581 h 5619545"/>
              <a:gd name="connsiteX236" fmla="*/ 262795 w 4408059"/>
              <a:gd name="connsiteY236" fmla="*/ 262796 h 5619545"/>
              <a:gd name="connsiteX237" fmla="*/ 262795 w 4408059"/>
              <a:gd name="connsiteY237" fmla="*/ 5356750 h 5619545"/>
              <a:gd name="connsiteX238" fmla="*/ 2233744 w 4408059"/>
              <a:gd name="connsiteY238" fmla="*/ 5356750 h 5619545"/>
              <a:gd name="connsiteX239" fmla="*/ 2233744 w 4408059"/>
              <a:gd name="connsiteY239" fmla="*/ 262796 h 5619545"/>
              <a:gd name="connsiteX240" fmla="*/ 0 w 4408059"/>
              <a:gd name="connsiteY240" fmla="*/ 0 h 5619545"/>
              <a:gd name="connsiteX241" fmla="*/ 2496539 w 4408059"/>
              <a:gd name="connsiteY241" fmla="*/ 0 h 5619545"/>
              <a:gd name="connsiteX242" fmla="*/ 2496542 w 4408059"/>
              <a:gd name="connsiteY242" fmla="*/ 537468 h 5619545"/>
              <a:gd name="connsiteX243" fmla="*/ 2499048 w 4408059"/>
              <a:gd name="connsiteY243" fmla="*/ 536088 h 5619545"/>
              <a:gd name="connsiteX244" fmla="*/ 2499048 w 4408059"/>
              <a:gd name="connsiteY244" fmla="*/ 1783477 h 5619545"/>
              <a:gd name="connsiteX245" fmla="*/ 4408059 w 4408059"/>
              <a:gd name="connsiteY245" fmla="*/ 1783477 h 5619545"/>
              <a:gd name="connsiteX246" fmla="*/ 4408059 w 4408059"/>
              <a:gd name="connsiteY246" fmla="*/ 2434032 h 5619545"/>
              <a:gd name="connsiteX247" fmla="*/ 4406967 w 4408059"/>
              <a:gd name="connsiteY247" fmla="*/ 2434032 h 5619545"/>
              <a:gd name="connsiteX248" fmla="*/ 4406965 w 4408059"/>
              <a:gd name="connsiteY248" fmla="*/ 5619545 h 5619545"/>
              <a:gd name="connsiteX249" fmla="*/ 0 w 4408059"/>
              <a:gd name="connsiteY249" fmla="*/ 5619545 h 561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4408059" h="5619545">
                <a:moveTo>
                  <a:pt x="1158342" y="4779035"/>
                </a:moveTo>
                <a:lnTo>
                  <a:pt x="1334176" y="4779035"/>
                </a:lnTo>
                <a:lnTo>
                  <a:pt x="1334176" y="5098731"/>
                </a:lnTo>
                <a:lnTo>
                  <a:pt x="1158342" y="5098731"/>
                </a:lnTo>
                <a:close/>
                <a:moveTo>
                  <a:pt x="822582" y="4779035"/>
                </a:moveTo>
                <a:lnTo>
                  <a:pt x="822899" y="4779035"/>
                </a:lnTo>
                <a:lnTo>
                  <a:pt x="990417" y="4779035"/>
                </a:lnTo>
                <a:lnTo>
                  <a:pt x="998733" y="4779035"/>
                </a:lnTo>
                <a:lnTo>
                  <a:pt x="998733" y="5098731"/>
                </a:lnTo>
                <a:lnTo>
                  <a:pt x="990417" y="5098731"/>
                </a:lnTo>
                <a:lnTo>
                  <a:pt x="822899" y="5098731"/>
                </a:lnTo>
                <a:lnTo>
                  <a:pt x="822582" y="5098731"/>
                </a:lnTo>
                <a:close/>
                <a:moveTo>
                  <a:pt x="487138" y="4779035"/>
                </a:moveTo>
                <a:lnTo>
                  <a:pt x="654973" y="4779035"/>
                </a:lnTo>
                <a:lnTo>
                  <a:pt x="654973" y="5098731"/>
                </a:lnTo>
                <a:lnTo>
                  <a:pt x="487138" y="5098731"/>
                </a:lnTo>
                <a:close/>
                <a:moveTo>
                  <a:pt x="1837729" y="4779027"/>
                </a:moveTo>
                <a:lnTo>
                  <a:pt x="2005564" y="4779027"/>
                </a:lnTo>
                <a:lnTo>
                  <a:pt x="2005564" y="5098723"/>
                </a:lnTo>
                <a:lnTo>
                  <a:pt x="1837729" y="5098723"/>
                </a:lnTo>
                <a:close/>
                <a:moveTo>
                  <a:pt x="1502057" y="4779027"/>
                </a:moveTo>
                <a:lnTo>
                  <a:pt x="1669892" y="4779027"/>
                </a:lnTo>
                <a:lnTo>
                  <a:pt x="1669892" y="5098723"/>
                </a:lnTo>
                <a:lnTo>
                  <a:pt x="1502057" y="5098723"/>
                </a:lnTo>
                <a:close/>
                <a:moveTo>
                  <a:pt x="3040415" y="4596613"/>
                </a:moveTo>
                <a:lnTo>
                  <a:pt x="3216249" y="4596613"/>
                </a:lnTo>
                <a:lnTo>
                  <a:pt x="3216249" y="4916310"/>
                </a:lnTo>
                <a:lnTo>
                  <a:pt x="3040415" y="4916310"/>
                </a:lnTo>
                <a:close/>
                <a:moveTo>
                  <a:pt x="2704655" y="4596613"/>
                </a:moveTo>
                <a:lnTo>
                  <a:pt x="2872490" y="4596613"/>
                </a:lnTo>
                <a:lnTo>
                  <a:pt x="2872490" y="4916310"/>
                </a:lnTo>
                <a:lnTo>
                  <a:pt x="2704655" y="4916310"/>
                </a:lnTo>
                <a:close/>
                <a:moveTo>
                  <a:pt x="3719802" y="4596602"/>
                </a:moveTo>
                <a:lnTo>
                  <a:pt x="3887637" y="4596602"/>
                </a:lnTo>
                <a:lnTo>
                  <a:pt x="3887637" y="4916299"/>
                </a:lnTo>
                <a:lnTo>
                  <a:pt x="3719802" y="4916299"/>
                </a:lnTo>
                <a:close/>
                <a:moveTo>
                  <a:pt x="3384129" y="4596602"/>
                </a:moveTo>
                <a:lnTo>
                  <a:pt x="3551964" y="4596602"/>
                </a:lnTo>
                <a:lnTo>
                  <a:pt x="3551964" y="4916299"/>
                </a:lnTo>
                <a:lnTo>
                  <a:pt x="3384129" y="4916299"/>
                </a:lnTo>
                <a:close/>
                <a:moveTo>
                  <a:pt x="1158376" y="4094512"/>
                </a:moveTo>
                <a:lnTo>
                  <a:pt x="1334211" y="4094512"/>
                </a:lnTo>
                <a:lnTo>
                  <a:pt x="1334211" y="4414208"/>
                </a:lnTo>
                <a:lnTo>
                  <a:pt x="1158376" y="4414208"/>
                </a:lnTo>
                <a:close/>
                <a:moveTo>
                  <a:pt x="822703" y="4094512"/>
                </a:moveTo>
                <a:lnTo>
                  <a:pt x="822932" y="4094512"/>
                </a:lnTo>
                <a:lnTo>
                  <a:pt x="990538" y="4094512"/>
                </a:lnTo>
                <a:lnTo>
                  <a:pt x="998766" y="4094512"/>
                </a:lnTo>
                <a:lnTo>
                  <a:pt x="998766" y="4414208"/>
                </a:lnTo>
                <a:lnTo>
                  <a:pt x="990538" y="4414208"/>
                </a:lnTo>
                <a:lnTo>
                  <a:pt x="822932" y="4414208"/>
                </a:lnTo>
                <a:lnTo>
                  <a:pt x="822703" y="4414208"/>
                </a:lnTo>
                <a:close/>
                <a:moveTo>
                  <a:pt x="487259" y="4094512"/>
                </a:moveTo>
                <a:lnTo>
                  <a:pt x="655094" y="4094512"/>
                </a:lnTo>
                <a:lnTo>
                  <a:pt x="655094" y="4414208"/>
                </a:lnTo>
                <a:lnTo>
                  <a:pt x="487259" y="4414208"/>
                </a:lnTo>
                <a:close/>
                <a:moveTo>
                  <a:pt x="1837729" y="4094498"/>
                </a:moveTo>
                <a:lnTo>
                  <a:pt x="2005564" y="4094498"/>
                </a:lnTo>
                <a:lnTo>
                  <a:pt x="2005564" y="4414195"/>
                </a:lnTo>
                <a:lnTo>
                  <a:pt x="1837729" y="4414195"/>
                </a:lnTo>
                <a:close/>
                <a:moveTo>
                  <a:pt x="1502057" y="4094498"/>
                </a:moveTo>
                <a:lnTo>
                  <a:pt x="1669892" y="4094498"/>
                </a:lnTo>
                <a:lnTo>
                  <a:pt x="1669892" y="4414195"/>
                </a:lnTo>
                <a:lnTo>
                  <a:pt x="1502057" y="4414195"/>
                </a:lnTo>
                <a:close/>
                <a:moveTo>
                  <a:pt x="3040448" y="3912088"/>
                </a:moveTo>
                <a:lnTo>
                  <a:pt x="3216282" y="3912088"/>
                </a:lnTo>
                <a:lnTo>
                  <a:pt x="3216282" y="4231784"/>
                </a:lnTo>
                <a:lnTo>
                  <a:pt x="3040448" y="4231784"/>
                </a:lnTo>
                <a:close/>
                <a:moveTo>
                  <a:pt x="2704776" y="3912088"/>
                </a:moveTo>
                <a:lnTo>
                  <a:pt x="2872611" y="3912088"/>
                </a:lnTo>
                <a:lnTo>
                  <a:pt x="2872611" y="4231784"/>
                </a:lnTo>
                <a:lnTo>
                  <a:pt x="2704776" y="4231784"/>
                </a:lnTo>
                <a:close/>
                <a:moveTo>
                  <a:pt x="3719802" y="3912077"/>
                </a:moveTo>
                <a:lnTo>
                  <a:pt x="3887637" y="3912077"/>
                </a:lnTo>
                <a:lnTo>
                  <a:pt x="3887637" y="4231773"/>
                </a:lnTo>
                <a:lnTo>
                  <a:pt x="3719802" y="4231773"/>
                </a:lnTo>
                <a:close/>
                <a:moveTo>
                  <a:pt x="3384129" y="3912077"/>
                </a:moveTo>
                <a:lnTo>
                  <a:pt x="3551964" y="3912077"/>
                </a:lnTo>
                <a:lnTo>
                  <a:pt x="3551964" y="4231773"/>
                </a:lnTo>
                <a:lnTo>
                  <a:pt x="3384129" y="4231773"/>
                </a:lnTo>
                <a:close/>
                <a:moveTo>
                  <a:pt x="1158376" y="3409987"/>
                </a:moveTo>
                <a:lnTo>
                  <a:pt x="1334211" y="3409987"/>
                </a:lnTo>
                <a:lnTo>
                  <a:pt x="1334211" y="3729683"/>
                </a:lnTo>
                <a:lnTo>
                  <a:pt x="1158376" y="3729683"/>
                </a:lnTo>
                <a:close/>
                <a:moveTo>
                  <a:pt x="822703" y="3409987"/>
                </a:moveTo>
                <a:lnTo>
                  <a:pt x="822932" y="3409987"/>
                </a:lnTo>
                <a:lnTo>
                  <a:pt x="990538" y="3409987"/>
                </a:lnTo>
                <a:lnTo>
                  <a:pt x="998766" y="3409987"/>
                </a:lnTo>
                <a:lnTo>
                  <a:pt x="998766" y="3729683"/>
                </a:lnTo>
                <a:lnTo>
                  <a:pt x="990538" y="3729683"/>
                </a:lnTo>
                <a:lnTo>
                  <a:pt x="822932" y="3729683"/>
                </a:lnTo>
                <a:lnTo>
                  <a:pt x="822703" y="3729683"/>
                </a:lnTo>
                <a:close/>
                <a:moveTo>
                  <a:pt x="487259" y="3409987"/>
                </a:moveTo>
                <a:lnTo>
                  <a:pt x="655094" y="3409987"/>
                </a:lnTo>
                <a:lnTo>
                  <a:pt x="655094" y="3729683"/>
                </a:lnTo>
                <a:lnTo>
                  <a:pt x="487259" y="3729683"/>
                </a:lnTo>
                <a:close/>
                <a:moveTo>
                  <a:pt x="1837729" y="3409976"/>
                </a:moveTo>
                <a:lnTo>
                  <a:pt x="2005564" y="3409976"/>
                </a:lnTo>
                <a:lnTo>
                  <a:pt x="2005564" y="3729672"/>
                </a:lnTo>
                <a:lnTo>
                  <a:pt x="1837729" y="3729672"/>
                </a:lnTo>
                <a:close/>
                <a:moveTo>
                  <a:pt x="1502057" y="3409976"/>
                </a:moveTo>
                <a:lnTo>
                  <a:pt x="1669892" y="3409976"/>
                </a:lnTo>
                <a:lnTo>
                  <a:pt x="1669892" y="3729672"/>
                </a:lnTo>
                <a:lnTo>
                  <a:pt x="1502057" y="3729672"/>
                </a:lnTo>
                <a:close/>
                <a:moveTo>
                  <a:pt x="3040448" y="3227562"/>
                </a:moveTo>
                <a:lnTo>
                  <a:pt x="3216282" y="3227562"/>
                </a:lnTo>
                <a:lnTo>
                  <a:pt x="3216282" y="3547258"/>
                </a:lnTo>
                <a:lnTo>
                  <a:pt x="3040448" y="3547258"/>
                </a:lnTo>
                <a:close/>
                <a:moveTo>
                  <a:pt x="2704776" y="3227562"/>
                </a:moveTo>
                <a:lnTo>
                  <a:pt x="2872611" y="3227562"/>
                </a:lnTo>
                <a:lnTo>
                  <a:pt x="2872611" y="3547258"/>
                </a:lnTo>
                <a:lnTo>
                  <a:pt x="2704776" y="3547258"/>
                </a:lnTo>
                <a:close/>
                <a:moveTo>
                  <a:pt x="3719802" y="3227551"/>
                </a:moveTo>
                <a:lnTo>
                  <a:pt x="3887637" y="3227551"/>
                </a:lnTo>
                <a:lnTo>
                  <a:pt x="3887637" y="3547247"/>
                </a:lnTo>
                <a:lnTo>
                  <a:pt x="3719802" y="3547247"/>
                </a:lnTo>
                <a:close/>
                <a:moveTo>
                  <a:pt x="3384129" y="3227551"/>
                </a:moveTo>
                <a:lnTo>
                  <a:pt x="3551964" y="3227551"/>
                </a:lnTo>
                <a:lnTo>
                  <a:pt x="3551964" y="3547247"/>
                </a:lnTo>
                <a:lnTo>
                  <a:pt x="3384129" y="3547247"/>
                </a:lnTo>
                <a:close/>
                <a:moveTo>
                  <a:pt x="1158376" y="2725458"/>
                </a:moveTo>
                <a:lnTo>
                  <a:pt x="1334211" y="2725458"/>
                </a:lnTo>
                <a:lnTo>
                  <a:pt x="1334211" y="3045154"/>
                </a:lnTo>
                <a:lnTo>
                  <a:pt x="1158376" y="3045154"/>
                </a:lnTo>
                <a:close/>
                <a:moveTo>
                  <a:pt x="822703" y="2725458"/>
                </a:moveTo>
                <a:lnTo>
                  <a:pt x="822932" y="2725458"/>
                </a:lnTo>
                <a:lnTo>
                  <a:pt x="990538" y="2725458"/>
                </a:lnTo>
                <a:lnTo>
                  <a:pt x="998766" y="2725458"/>
                </a:lnTo>
                <a:lnTo>
                  <a:pt x="998766" y="3045154"/>
                </a:lnTo>
                <a:lnTo>
                  <a:pt x="990538" y="3045154"/>
                </a:lnTo>
                <a:lnTo>
                  <a:pt x="822932" y="3045154"/>
                </a:lnTo>
                <a:lnTo>
                  <a:pt x="822703" y="3045154"/>
                </a:lnTo>
                <a:close/>
                <a:moveTo>
                  <a:pt x="487259" y="2725458"/>
                </a:moveTo>
                <a:lnTo>
                  <a:pt x="655094" y="2725458"/>
                </a:lnTo>
                <a:lnTo>
                  <a:pt x="655094" y="3045154"/>
                </a:lnTo>
                <a:lnTo>
                  <a:pt x="487259" y="3045154"/>
                </a:lnTo>
                <a:close/>
                <a:moveTo>
                  <a:pt x="1837729" y="2725453"/>
                </a:moveTo>
                <a:lnTo>
                  <a:pt x="2005564" y="2725453"/>
                </a:lnTo>
                <a:lnTo>
                  <a:pt x="2005564" y="3045149"/>
                </a:lnTo>
                <a:lnTo>
                  <a:pt x="1837729" y="3045149"/>
                </a:lnTo>
                <a:close/>
                <a:moveTo>
                  <a:pt x="1502057" y="2725453"/>
                </a:moveTo>
                <a:lnTo>
                  <a:pt x="1669892" y="2725453"/>
                </a:lnTo>
                <a:lnTo>
                  <a:pt x="1669892" y="3045149"/>
                </a:lnTo>
                <a:lnTo>
                  <a:pt x="1502057" y="3045149"/>
                </a:lnTo>
                <a:close/>
                <a:moveTo>
                  <a:pt x="3040448" y="2543036"/>
                </a:moveTo>
                <a:lnTo>
                  <a:pt x="3216282" y="2543036"/>
                </a:lnTo>
                <a:lnTo>
                  <a:pt x="3216282" y="2862733"/>
                </a:lnTo>
                <a:lnTo>
                  <a:pt x="3040448" y="2862733"/>
                </a:lnTo>
                <a:close/>
                <a:moveTo>
                  <a:pt x="2704776" y="2543036"/>
                </a:moveTo>
                <a:lnTo>
                  <a:pt x="2872611" y="2543036"/>
                </a:lnTo>
                <a:lnTo>
                  <a:pt x="2872611" y="2862733"/>
                </a:lnTo>
                <a:lnTo>
                  <a:pt x="2704776" y="2862733"/>
                </a:lnTo>
                <a:close/>
                <a:moveTo>
                  <a:pt x="3719802" y="2543028"/>
                </a:moveTo>
                <a:lnTo>
                  <a:pt x="3887637" y="2543028"/>
                </a:lnTo>
                <a:lnTo>
                  <a:pt x="3887637" y="2862724"/>
                </a:lnTo>
                <a:lnTo>
                  <a:pt x="3719802" y="2862724"/>
                </a:lnTo>
                <a:close/>
                <a:moveTo>
                  <a:pt x="3384129" y="2543028"/>
                </a:moveTo>
                <a:lnTo>
                  <a:pt x="3551964" y="2543028"/>
                </a:lnTo>
                <a:lnTo>
                  <a:pt x="3551964" y="2862724"/>
                </a:lnTo>
                <a:lnTo>
                  <a:pt x="3384129" y="2862724"/>
                </a:lnTo>
                <a:close/>
                <a:moveTo>
                  <a:pt x="2496542" y="2045507"/>
                </a:moveTo>
                <a:lnTo>
                  <a:pt x="2496542" y="5356750"/>
                </a:lnTo>
                <a:lnTo>
                  <a:pt x="4144172" y="5356750"/>
                </a:lnTo>
                <a:lnTo>
                  <a:pt x="4144172" y="2045507"/>
                </a:lnTo>
                <a:close/>
                <a:moveTo>
                  <a:pt x="1158376" y="2040932"/>
                </a:moveTo>
                <a:lnTo>
                  <a:pt x="1334211" y="2040932"/>
                </a:lnTo>
                <a:lnTo>
                  <a:pt x="1334211" y="2360629"/>
                </a:lnTo>
                <a:lnTo>
                  <a:pt x="1158376" y="2360629"/>
                </a:lnTo>
                <a:close/>
                <a:moveTo>
                  <a:pt x="822703" y="2040932"/>
                </a:moveTo>
                <a:lnTo>
                  <a:pt x="822932" y="2040932"/>
                </a:lnTo>
                <a:lnTo>
                  <a:pt x="990538" y="2040932"/>
                </a:lnTo>
                <a:lnTo>
                  <a:pt x="998766" y="2040932"/>
                </a:lnTo>
                <a:lnTo>
                  <a:pt x="998766" y="2360629"/>
                </a:lnTo>
                <a:lnTo>
                  <a:pt x="990538" y="2360629"/>
                </a:lnTo>
                <a:lnTo>
                  <a:pt x="822932" y="2360629"/>
                </a:lnTo>
                <a:lnTo>
                  <a:pt x="822703" y="2360629"/>
                </a:lnTo>
                <a:close/>
                <a:moveTo>
                  <a:pt x="487259" y="2040932"/>
                </a:moveTo>
                <a:lnTo>
                  <a:pt x="655094" y="2040932"/>
                </a:lnTo>
                <a:lnTo>
                  <a:pt x="655094" y="2360629"/>
                </a:lnTo>
                <a:lnTo>
                  <a:pt x="487259" y="2360629"/>
                </a:lnTo>
                <a:close/>
                <a:moveTo>
                  <a:pt x="1837729" y="2040927"/>
                </a:moveTo>
                <a:lnTo>
                  <a:pt x="2005564" y="2040927"/>
                </a:lnTo>
                <a:lnTo>
                  <a:pt x="2005564" y="2360623"/>
                </a:lnTo>
                <a:lnTo>
                  <a:pt x="1837729" y="2360623"/>
                </a:lnTo>
                <a:close/>
                <a:moveTo>
                  <a:pt x="1502057" y="2040927"/>
                </a:moveTo>
                <a:lnTo>
                  <a:pt x="1669892" y="2040927"/>
                </a:lnTo>
                <a:lnTo>
                  <a:pt x="1669892" y="2360623"/>
                </a:lnTo>
                <a:lnTo>
                  <a:pt x="1502057" y="2360623"/>
                </a:lnTo>
                <a:close/>
                <a:moveTo>
                  <a:pt x="1158376" y="1356407"/>
                </a:moveTo>
                <a:lnTo>
                  <a:pt x="1334211" y="1356407"/>
                </a:lnTo>
                <a:lnTo>
                  <a:pt x="1334211" y="1676103"/>
                </a:lnTo>
                <a:lnTo>
                  <a:pt x="1158376" y="1676103"/>
                </a:lnTo>
                <a:close/>
                <a:moveTo>
                  <a:pt x="822703" y="1356407"/>
                </a:moveTo>
                <a:lnTo>
                  <a:pt x="822932" y="1356407"/>
                </a:lnTo>
                <a:lnTo>
                  <a:pt x="990538" y="1356407"/>
                </a:lnTo>
                <a:lnTo>
                  <a:pt x="998766" y="1356407"/>
                </a:lnTo>
                <a:lnTo>
                  <a:pt x="998766" y="1676103"/>
                </a:lnTo>
                <a:lnTo>
                  <a:pt x="990538" y="1676103"/>
                </a:lnTo>
                <a:lnTo>
                  <a:pt x="822932" y="1676103"/>
                </a:lnTo>
                <a:lnTo>
                  <a:pt x="822703" y="1676103"/>
                </a:lnTo>
                <a:close/>
                <a:moveTo>
                  <a:pt x="487259" y="1356407"/>
                </a:moveTo>
                <a:lnTo>
                  <a:pt x="655094" y="1356407"/>
                </a:lnTo>
                <a:lnTo>
                  <a:pt x="655094" y="1676103"/>
                </a:lnTo>
                <a:lnTo>
                  <a:pt x="487259" y="1676103"/>
                </a:lnTo>
                <a:close/>
                <a:moveTo>
                  <a:pt x="1837729" y="1356404"/>
                </a:moveTo>
                <a:lnTo>
                  <a:pt x="2005564" y="1356404"/>
                </a:lnTo>
                <a:lnTo>
                  <a:pt x="2005564" y="1676100"/>
                </a:lnTo>
                <a:lnTo>
                  <a:pt x="1837729" y="1676100"/>
                </a:lnTo>
                <a:close/>
                <a:moveTo>
                  <a:pt x="1502057" y="1356404"/>
                </a:moveTo>
                <a:lnTo>
                  <a:pt x="1669892" y="1356404"/>
                </a:lnTo>
                <a:lnTo>
                  <a:pt x="1669892" y="1676100"/>
                </a:lnTo>
                <a:lnTo>
                  <a:pt x="1502057" y="1676100"/>
                </a:lnTo>
                <a:close/>
                <a:moveTo>
                  <a:pt x="487259" y="671886"/>
                </a:moveTo>
                <a:lnTo>
                  <a:pt x="655094" y="671886"/>
                </a:lnTo>
                <a:lnTo>
                  <a:pt x="655094" y="991581"/>
                </a:lnTo>
                <a:lnTo>
                  <a:pt x="487259" y="991581"/>
                </a:lnTo>
                <a:close/>
                <a:moveTo>
                  <a:pt x="1502057" y="671885"/>
                </a:moveTo>
                <a:lnTo>
                  <a:pt x="1669892" y="671885"/>
                </a:lnTo>
                <a:lnTo>
                  <a:pt x="1669892" y="991581"/>
                </a:lnTo>
                <a:lnTo>
                  <a:pt x="1502057" y="991581"/>
                </a:lnTo>
                <a:close/>
                <a:moveTo>
                  <a:pt x="1158376" y="671885"/>
                </a:moveTo>
                <a:lnTo>
                  <a:pt x="1334211" y="671885"/>
                </a:lnTo>
                <a:lnTo>
                  <a:pt x="1334211" y="991581"/>
                </a:lnTo>
                <a:lnTo>
                  <a:pt x="1158376" y="991581"/>
                </a:lnTo>
                <a:close/>
                <a:moveTo>
                  <a:pt x="822703" y="671885"/>
                </a:moveTo>
                <a:lnTo>
                  <a:pt x="822932" y="671885"/>
                </a:lnTo>
                <a:lnTo>
                  <a:pt x="990538" y="671885"/>
                </a:lnTo>
                <a:lnTo>
                  <a:pt x="998766" y="671885"/>
                </a:lnTo>
                <a:lnTo>
                  <a:pt x="998766" y="991581"/>
                </a:lnTo>
                <a:lnTo>
                  <a:pt x="990538" y="991581"/>
                </a:lnTo>
                <a:lnTo>
                  <a:pt x="822932" y="991581"/>
                </a:lnTo>
                <a:lnTo>
                  <a:pt x="822703" y="991581"/>
                </a:lnTo>
                <a:close/>
                <a:moveTo>
                  <a:pt x="1837729" y="671885"/>
                </a:moveTo>
                <a:lnTo>
                  <a:pt x="2005564" y="671885"/>
                </a:lnTo>
                <a:lnTo>
                  <a:pt x="2005564" y="991581"/>
                </a:lnTo>
                <a:lnTo>
                  <a:pt x="1837729" y="991581"/>
                </a:lnTo>
                <a:close/>
                <a:moveTo>
                  <a:pt x="262795" y="262796"/>
                </a:moveTo>
                <a:lnTo>
                  <a:pt x="262795" y="5356750"/>
                </a:lnTo>
                <a:lnTo>
                  <a:pt x="2233744" y="5356750"/>
                </a:lnTo>
                <a:lnTo>
                  <a:pt x="2233744" y="262796"/>
                </a:lnTo>
                <a:close/>
                <a:moveTo>
                  <a:pt x="0" y="0"/>
                </a:moveTo>
                <a:lnTo>
                  <a:pt x="2496539" y="0"/>
                </a:lnTo>
                <a:lnTo>
                  <a:pt x="2496542" y="537468"/>
                </a:lnTo>
                <a:lnTo>
                  <a:pt x="2499048" y="536088"/>
                </a:lnTo>
                <a:lnTo>
                  <a:pt x="2499048" y="1783477"/>
                </a:lnTo>
                <a:lnTo>
                  <a:pt x="4408059" y="1783477"/>
                </a:lnTo>
                <a:lnTo>
                  <a:pt x="4408059" y="2434032"/>
                </a:lnTo>
                <a:lnTo>
                  <a:pt x="4406967" y="2434032"/>
                </a:lnTo>
                <a:lnTo>
                  <a:pt x="4406965" y="5619545"/>
                </a:lnTo>
                <a:lnTo>
                  <a:pt x="0" y="5619545"/>
                </a:lnTo>
                <a:close/>
              </a:path>
            </a:pathLst>
          </a:custGeom>
          <a:solidFill>
            <a:srgbClr val="FFFFFF"/>
          </a:solidFill>
          <a:ln w="12700" cap="flat" cmpd="sng" algn="ctr">
            <a:noFill/>
            <a:prstDash val="solid"/>
            <a:miter lim="800000"/>
          </a:ln>
          <a:effectLst/>
        </p:spPr>
        <p:txBody>
          <a:bodyPr rtlCol="0" anchor="ctr"/>
          <a:lstStyle/>
          <a:p>
            <a:pPr algn="ctr" defTabSz="914225">
              <a:defRPr/>
            </a:pPr>
            <a:endParaRPr lang="en-US" kern="0">
              <a:solidFill>
                <a:srgbClr val="FFFFFF"/>
              </a:solidFill>
              <a:latin typeface="Segoe UI"/>
            </a:endParaRPr>
          </a:p>
        </p:txBody>
      </p:sp>
      <p:grpSp>
        <p:nvGrpSpPr>
          <p:cNvPr id="337" name="Group 336">
            <a:extLst>
              <a:ext uri="{FF2B5EF4-FFF2-40B4-BE49-F238E27FC236}">
                <a16:creationId xmlns:a16="http://schemas.microsoft.com/office/drawing/2014/main" id="{8ADDFD0E-A1CA-4FB2-8A9A-6774C6415C4F}"/>
              </a:ext>
            </a:extLst>
          </p:cNvPr>
          <p:cNvGrpSpPr/>
          <p:nvPr/>
        </p:nvGrpSpPr>
        <p:grpSpPr>
          <a:xfrm>
            <a:off x="9917326" y="5431415"/>
            <a:ext cx="1793455" cy="317685"/>
            <a:chOff x="10011177" y="5352895"/>
            <a:chExt cx="1793710" cy="317730"/>
          </a:xfrm>
        </p:grpSpPr>
        <p:sp>
          <p:nvSpPr>
            <p:cNvPr id="338" name="Freeform 283">
              <a:extLst>
                <a:ext uri="{FF2B5EF4-FFF2-40B4-BE49-F238E27FC236}">
                  <a16:creationId xmlns:a16="http://schemas.microsoft.com/office/drawing/2014/main" id="{41F8A52B-3311-44B6-B049-5E1230430C99}"/>
                </a:ext>
              </a:extLst>
            </p:cNvPr>
            <p:cNvSpPr/>
            <p:nvPr/>
          </p:nvSpPr>
          <p:spPr bwMode="auto">
            <a:xfrm>
              <a:off x="10011177" y="5352895"/>
              <a:ext cx="306836" cy="317730"/>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9" name="TextBox 338">
              <a:extLst>
                <a:ext uri="{FF2B5EF4-FFF2-40B4-BE49-F238E27FC236}">
                  <a16:creationId xmlns:a16="http://schemas.microsoft.com/office/drawing/2014/main" id="{DD8DA648-7704-49FB-909F-53893606C6E2}"/>
                </a:ext>
              </a:extLst>
            </p:cNvPr>
            <p:cNvSpPr txBox="1"/>
            <p:nvPr/>
          </p:nvSpPr>
          <p:spPr>
            <a:xfrm>
              <a:off x="10318013" y="5386948"/>
              <a:ext cx="1486874"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Excel</a:t>
              </a:r>
            </a:p>
          </p:txBody>
        </p:sp>
      </p:grpSp>
      <p:grpSp>
        <p:nvGrpSpPr>
          <p:cNvPr id="340" name="Group 339">
            <a:extLst>
              <a:ext uri="{FF2B5EF4-FFF2-40B4-BE49-F238E27FC236}">
                <a16:creationId xmlns:a16="http://schemas.microsoft.com/office/drawing/2014/main" id="{597722D7-C88B-481B-8742-685D79CE1922}"/>
              </a:ext>
            </a:extLst>
          </p:cNvPr>
          <p:cNvGrpSpPr/>
          <p:nvPr/>
        </p:nvGrpSpPr>
        <p:grpSpPr>
          <a:xfrm>
            <a:off x="9917326" y="5883064"/>
            <a:ext cx="1793456" cy="249264"/>
            <a:chOff x="10011177" y="5814832"/>
            <a:chExt cx="1793711" cy="249299"/>
          </a:xfrm>
        </p:grpSpPr>
        <p:grpSp>
          <p:nvGrpSpPr>
            <p:cNvPr id="341" name="Group 340">
              <a:extLst>
                <a:ext uri="{FF2B5EF4-FFF2-40B4-BE49-F238E27FC236}">
                  <a16:creationId xmlns:a16="http://schemas.microsoft.com/office/drawing/2014/main" id="{11742050-EED2-44AF-92B0-FAB22E941CB0}"/>
                </a:ext>
              </a:extLst>
            </p:cNvPr>
            <p:cNvGrpSpPr/>
            <p:nvPr/>
          </p:nvGrpSpPr>
          <p:grpSpPr>
            <a:xfrm>
              <a:off x="10011177" y="5827808"/>
              <a:ext cx="340586" cy="218583"/>
              <a:chOff x="9674359" y="5477609"/>
              <a:chExt cx="627497" cy="402718"/>
            </a:xfrm>
            <a:solidFill>
              <a:srgbClr val="FFFFFF"/>
            </a:solidFill>
          </p:grpSpPr>
          <p:sp>
            <p:nvSpPr>
              <p:cNvPr id="343" name="Freeform 281">
                <a:extLst>
                  <a:ext uri="{FF2B5EF4-FFF2-40B4-BE49-F238E27FC236}">
                    <a16:creationId xmlns:a16="http://schemas.microsoft.com/office/drawing/2014/main" id="{14855676-482A-4D97-A4D5-825D7367AE3A}"/>
                  </a:ext>
                </a:extLst>
              </p:cNvPr>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630" tIns="44814" rIns="89630" bIns="44814" numCol="1" anchor="t" anchorCtr="0" compatLnSpc="1">
                <a:prstTxWarp prst="textNoShape">
                  <a:avLst/>
                </a:prstTxWarp>
                <a:noAutofit/>
              </a:bodyPr>
              <a:lstStyle/>
              <a:p>
                <a:pPr defTabSz="914192">
                  <a:defRPr/>
                </a:pPr>
                <a:endParaRPr lang="en-US" sz="1765" kern="0" dirty="0">
                  <a:solidFill>
                    <a:srgbClr val="FFFFFF"/>
                  </a:solidFill>
                  <a:latin typeface="Segoe UI"/>
                </a:endParaRPr>
              </a:p>
            </p:txBody>
          </p:sp>
          <p:sp>
            <p:nvSpPr>
              <p:cNvPr id="344" name="Freeform 33">
                <a:extLst>
                  <a:ext uri="{FF2B5EF4-FFF2-40B4-BE49-F238E27FC236}">
                    <a16:creationId xmlns:a16="http://schemas.microsoft.com/office/drawing/2014/main" id="{54487057-9CA2-4A22-8F02-7A5984ECE913}"/>
                  </a:ext>
                </a:extLst>
              </p:cNvPr>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FFFFFF"/>
                  </a:solidFill>
                  <a:latin typeface="Segoe UI"/>
                </a:endParaRPr>
              </a:p>
            </p:txBody>
          </p:sp>
        </p:grpSp>
        <p:sp>
          <p:nvSpPr>
            <p:cNvPr id="342" name="TextBox 341">
              <a:extLst>
                <a:ext uri="{FF2B5EF4-FFF2-40B4-BE49-F238E27FC236}">
                  <a16:creationId xmlns:a16="http://schemas.microsoft.com/office/drawing/2014/main" id="{93E522AA-A3CC-405D-A904-FC6E5BC74BE7}"/>
                </a:ext>
              </a:extLst>
            </p:cNvPr>
            <p:cNvSpPr txBox="1"/>
            <p:nvPr/>
          </p:nvSpPr>
          <p:spPr>
            <a:xfrm>
              <a:off x="10318012" y="5814832"/>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Third party BI tools</a:t>
              </a:r>
            </a:p>
          </p:txBody>
        </p:sp>
      </p:grpSp>
      <p:grpSp>
        <p:nvGrpSpPr>
          <p:cNvPr id="345" name="Group 344">
            <a:extLst>
              <a:ext uri="{FF2B5EF4-FFF2-40B4-BE49-F238E27FC236}">
                <a16:creationId xmlns:a16="http://schemas.microsoft.com/office/drawing/2014/main" id="{A6B4CDBE-A801-473C-8996-AC8CE1406F37}"/>
              </a:ext>
            </a:extLst>
          </p:cNvPr>
          <p:cNvGrpSpPr/>
          <p:nvPr/>
        </p:nvGrpSpPr>
        <p:grpSpPr>
          <a:xfrm>
            <a:off x="9913142" y="5051263"/>
            <a:ext cx="1793457" cy="249264"/>
            <a:chOff x="10006993" y="4919853"/>
            <a:chExt cx="1793712" cy="249299"/>
          </a:xfrm>
        </p:grpSpPr>
        <p:sp>
          <p:nvSpPr>
            <p:cNvPr id="346" name="TextBox 345">
              <a:extLst>
                <a:ext uri="{FF2B5EF4-FFF2-40B4-BE49-F238E27FC236}">
                  <a16:creationId xmlns:a16="http://schemas.microsoft.com/office/drawing/2014/main" id="{D367EB86-E0EA-41C4-95F6-5691C913AA5D}"/>
                </a:ext>
              </a:extLst>
            </p:cNvPr>
            <p:cNvSpPr txBox="1"/>
            <p:nvPr/>
          </p:nvSpPr>
          <p:spPr>
            <a:xfrm>
              <a:off x="10313829" y="4919853"/>
              <a:ext cx="1486876" cy="249299"/>
            </a:xfrm>
            <a:prstGeom prst="rect">
              <a:avLst/>
            </a:prstGeom>
            <a:noFill/>
          </p:spPr>
          <p:txBody>
            <a:bodyPr wrap="square" rtlCol="0">
              <a:spAutoFit/>
            </a:bodyPr>
            <a:lstStyle/>
            <a:p>
              <a:pPr defTabSz="896214">
                <a:defRPr/>
              </a:pPr>
              <a:r>
                <a:rPr lang="en-US" sz="1000" kern="0" dirty="0">
                  <a:solidFill>
                    <a:srgbClr val="FFFFFF"/>
                  </a:solidFill>
                  <a:latin typeface="Segoe UI Semibold" panose="020B0702040204020203" pitchFamily="34" charset="0"/>
                  <a:cs typeface="Segoe UI Semibold" panose="020B0702040204020203" pitchFamily="34" charset="0"/>
                </a:rPr>
                <a:t>Power BI Desktop</a:t>
              </a:r>
            </a:p>
          </p:txBody>
        </p:sp>
        <p:sp>
          <p:nvSpPr>
            <p:cNvPr id="347" name="Freeform 271">
              <a:extLst>
                <a:ext uri="{FF2B5EF4-FFF2-40B4-BE49-F238E27FC236}">
                  <a16:creationId xmlns:a16="http://schemas.microsoft.com/office/drawing/2014/main" id="{3D230C1F-DF22-4AFB-96E5-5429F4E95E7A}"/>
                </a:ext>
              </a:extLst>
            </p:cNvPr>
            <p:cNvSpPr/>
            <p:nvPr/>
          </p:nvSpPr>
          <p:spPr>
            <a:xfrm>
              <a:off x="10006993" y="4927132"/>
              <a:ext cx="306836" cy="23166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FFFFFF"/>
            </a:solidFill>
            <a:ln w="342900" cap="sq" cmpd="sng" algn="ctr">
              <a:noFill/>
              <a:prstDash val="solid"/>
              <a:miter lim="800000"/>
            </a:ln>
            <a:effectLst/>
          </p:spPr>
          <p:txBody>
            <a:bodyPr wrap="square" rtlCol="0" anchor="ctr">
              <a:noAutofit/>
            </a:bodyPr>
            <a:lstStyle/>
            <a:p>
              <a:pPr algn="ctr" defTabSz="914225">
                <a:defRPr/>
              </a:pPr>
              <a:endParaRPr lang="en-US" kern="0">
                <a:solidFill>
                  <a:srgbClr val="FFFFFF"/>
                </a:solidFill>
                <a:latin typeface="Segoe UI"/>
              </a:endParaRPr>
            </a:p>
          </p:txBody>
        </p:sp>
      </p:grpSp>
    </p:spTree>
    <p:extLst>
      <p:ext uri="{BB962C8B-B14F-4D97-AF65-F5344CB8AC3E}">
        <p14:creationId xmlns:p14="http://schemas.microsoft.com/office/powerpoint/2010/main" val="31245573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t>
            </a:r>
            <a:r>
              <a:rPr lang="en-US" dirty="0" err="1"/>
              <a:t>Databricks</a:t>
            </a:r>
            <a:endParaRPr lang="en-US" dirty="0"/>
          </a:p>
        </p:txBody>
      </p:sp>
    </p:spTree>
    <p:extLst>
      <p:ext uri="{BB962C8B-B14F-4D97-AF65-F5344CB8AC3E}">
        <p14:creationId xmlns:p14="http://schemas.microsoft.com/office/powerpoint/2010/main" val="21774651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bricks</a:t>
              </a: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67987" y="3517736"/>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bout Me</a:t>
            </a:r>
          </a:p>
        </p:txBody>
      </p:sp>
      <p:sp>
        <p:nvSpPr>
          <p:cNvPr id="5" name="Content Placeholder 2"/>
          <p:cNvSpPr>
            <a:spLocks noGrp="1"/>
          </p:cNvSpPr>
          <p:nvPr>
            <p:ph idx="1"/>
          </p:nvPr>
        </p:nvSpPr>
        <p:spPr/>
        <p:txBody>
          <a:bodyPr>
            <a:normAutofit/>
          </a:bodyPr>
          <a:lstStyle/>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Microsoft, Big Data Evangelist</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In IT for 30 years, worked on many BI and DW project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Worked as desktop/web/database developer, DBA, BI and DW architect and developer, MDM architect, PDW/APS develop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een perm employee, contractor, consultant, business owner</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Presenter at PASS Business Analytics Conference, PASS Summit, Enterprise Data World conference</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Certifications: MCSE: Data Platform, Business Intelligence; MS: Architecting Microsoft Azure Solutions, Design and Implement Big Data Analytics Solutions, Design and Implement Cloud Data Platform Solutions</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log at JamesSerra.com</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Former SQL Server MVP</a:t>
            </a:r>
          </a:p>
          <a:p>
            <a:pPr marL="342900" indent="-342900">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Author of book “Reporting with Microsoft SQL Server 2012”</a:t>
            </a:r>
          </a:p>
          <a:p>
            <a:endParaRPr lang="en-US" dirty="0">
              <a:solidFill>
                <a:schemeClr val="bg1">
                  <a:lumMod val="50000"/>
                </a:scheme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0809" y="5131957"/>
            <a:ext cx="1996726" cy="807565"/>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92827" y="4528478"/>
            <a:ext cx="953317" cy="1411044"/>
          </a:xfrm>
          <a:prstGeom prst="rect">
            <a:avLst/>
          </a:prstGeom>
        </p:spPr>
      </p:pic>
    </p:spTree>
    <p:extLst>
      <p:ext uri="{BB962C8B-B14F-4D97-AF65-F5344CB8AC3E}">
        <p14:creationId xmlns:p14="http://schemas.microsoft.com/office/powerpoint/2010/main" val="547561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Get started quickly</a:t>
            </a:r>
            <a:r>
              <a:rPr kumimoji="0" lang="en-US" sz="1600" b="1" i="0" u="none" strike="noStrike" kern="1200" cap="none" spc="0" normalizeH="0" baseline="0" noProof="0" dirty="0">
                <a:ln>
                  <a:noFill/>
                </a:ln>
                <a:solidFill>
                  <a:srgbClr val="505050"/>
                </a:solidFill>
                <a:effectLst/>
                <a:uLnTx/>
                <a:uFillTx/>
                <a:latin typeface="Segoe UI Semilight"/>
                <a:ea typeface="+mn-ea"/>
                <a:cs typeface="+mn-cs"/>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y launching your new Spark environment with one click.</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hare your insights in powerful way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through rich integration with Power BI.</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mprove collaboration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mongst your analytics team through a unified workspace.</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novate faster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L="0" marR="0" lvl="0" indent="0" algn="l" defTabSz="932384" rtl="0" eaLnBrk="1" fontAlgn="auto" latinLnBrk="0" hangingPunct="1">
              <a:lnSpc>
                <a:spcPct val="100000"/>
              </a:lnSpc>
              <a:spcBef>
                <a:spcPts val="30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mplify security and identity control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built-in integration with Active Director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gulate access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fine-grained user permissions to Azure Databricks’ notebooks, clusters, jobs and data. </a:t>
            </a:r>
          </a:p>
          <a:p>
            <a:pPr marL="0" marR="0" lvl="0" indent="0" algn="l" defTabSz="932384" rtl="0" eaLnBrk="1" fontAlgn="auto" latinLnBrk="0" hangingPunct="1">
              <a:lnSpc>
                <a:spcPct val="100000"/>
              </a:lnSpc>
              <a:spcBef>
                <a:spcPts val="300"/>
              </a:spcBef>
              <a:spcAft>
                <a:spcPts val="600"/>
              </a:spcAft>
              <a:buClrTx/>
              <a:buSzTx/>
              <a:buFontTx/>
              <a:buNone/>
              <a:tabLst/>
              <a:defRPr/>
            </a:pPr>
            <a:br>
              <a:rPr kumimoji="0" lang="en-US" sz="1600" b="1" i="0" u="none" strike="noStrike" kern="1200" cap="none" spc="0" normalizeH="0" baseline="0" noProof="0" dirty="0">
                <a:ln>
                  <a:noFill/>
                </a:ln>
                <a:solidFill>
                  <a:srgbClr val="505050"/>
                </a:solidFill>
                <a:effectLst/>
                <a:uLnTx/>
                <a:uFillTx/>
                <a:latin typeface="Segoe UI Semilight"/>
                <a:ea typeface="+mn-ea"/>
                <a:cs typeface="+mn-cs"/>
              </a:rPr>
            </a:b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with confidence on the trusted cloud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backed by unmatched support, compliance and SLAs.</a:t>
            </a: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perate at massive scale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out limits globally.</a:t>
            </a:r>
            <a:br>
              <a:rPr kumimoji="0" lang="en-US" sz="1600" b="0" i="0" u="none" strike="noStrike" kern="1200" cap="none" spc="0" normalizeH="0" baseline="0" noProof="0" dirty="0">
                <a:ln>
                  <a:noFill/>
                </a:ln>
                <a:solidFill>
                  <a:srgbClr val="505050"/>
                </a:solidFill>
                <a:effectLst/>
                <a:uLnTx/>
                <a:uFillTx/>
                <a:latin typeface="Segoe UI Semilight"/>
                <a:ea typeface="+mn-ea"/>
                <a:cs typeface="+mn-cs"/>
              </a:rPr>
            </a:br>
            <a:endParaRPr kumimoji="0" lang="en-US" sz="1600" b="1" i="0" u="none" strike="noStrike" kern="1200" cap="none" spc="0" normalizeH="0" baseline="0" noProof="0" dirty="0">
              <a:ln>
                <a:noFill/>
              </a:ln>
              <a:solidFill>
                <a:srgbClr val="505050"/>
              </a:solidFill>
              <a:effectLst/>
              <a:uLnTx/>
              <a:uFillTx/>
              <a:latin typeface="Segoe UI Semilight"/>
              <a:ea typeface="+mn-ea"/>
              <a:cs typeface="+mn-cs"/>
            </a:endParaRPr>
          </a:p>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ccelerate data processing</a:t>
            </a:r>
            <a:r>
              <a:rPr kumimoji="0" lang="en-US" sz="16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UILD ON THE MOST COMPLIANT CLOUD</a:t>
            </a: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CALE WITHOUT LIMITS</a:t>
            </a: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tx2"/>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9892"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879892"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649" name="TextBox 648"/>
          <p:cNvSpPr txBox="1"/>
          <p:nvPr/>
        </p:nvSpPr>
        <p:spPr>
          <a:xfrm>
            <a:off x="693570" y="3462022"/>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529594" y="4410128"/>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566895" y="5394379"/>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529594" y="2391075"/>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988928" y="2360508"/>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59966" y="3387966"/>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74676" y="4602238"/>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5" y="-1203589"/>
            <a:chExt cx="3082009" cy="2284626"/>
          </a:xfrm>
          <a:solidFill>
            <a:schemeClr val="tx2"/>
          </a:solidFill>
        </p:grpSpPr>
        <p:sp>
          <p:nvSpPr>
            <p:cNvPr id="214" name="Freeform 42"/>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071086" y="5670351"/>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52197"/>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198585"/>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563944" y="6286039"/>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879892"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10CEAE7D-7680-48CF-964E-5FB8BB311FF1}"/>
              </a:ext>
            </a:extLst>
          </p:cNvPr>
          <p:cNvSpPr txBox="1"/>
          <p:nvPr/>
        </p:nvSpPr>
        <p:spPr>
          <a:xfrm>
            <a:off x="4571177" y="6294008"/>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757649" y="6296636"/>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Title 14">
            <a:extLst>
              <a:ext uri="{FF2B5EF4-FFF2-40B4-BE49-F238E27FC236}">
                <a16:creationId xmlns:a16="http://schemas.microsoft.com/office/drawing/2014/main" id="{6371AFEF-9E5C-45FD-BA0F-C6C8163E5225}"/>
              </a:ext>
            </a:extLst>
          </p:cNvPr>
          <p:cNvSpPr>
            <a:spLocks noGrp="1"/>
          </p:cNvSpPr>
          <p:nvPr>
            <p:ph type="title"/>
          </p:nvPr>
        </p:nvSpPr>
        <p:spPr/>
        <p:txBody>
          <a:bodyPr/>
          <a:lstStyle/>
          <a:p>
            <a:r>
              <a:rPr lang="en-US" dirty="0"/>
              <a:t>Azure Databricks</a:t>
            </a:r>
          </a:p>
        </p:txBody>
      </p:sp>
      <p:grpSp>
        <p:nvGrpSpPr>
          <p:cNvPr id="183" name="Group 182">
            <a:extLst>
              <a:ext uri="{FF2B5EF4-FFF2-40B4-BE49-F238E27FC236}">
                <a16:creationId xmlns:a16="http://schemas.microsoft.com/office/drawing/2014/main" id="{3036CF13-4259-4E09-ADAB-B09E53701652}"/>
              </a:ext>
            </a:extLst>
          </p:cNvPr>
          <p:cNvGrpSpPr/>
          <p:nvPr/>
        </p:nvGrpSpPr>
        <p:grpSpPr>
          <a:xfrm>
            <a:off x="1013739" y="1899813"/>
            <a:ext cx="530490" cy="443744"/>
            <a:chOff x="2070200" y="2126344"/>
            <a:chExt cx="281519" cy="235486"/>
          </a:xfrm>
        </p:grpSpPr>
        <p:sp>
          <p:nvSpPr>
            <p:cNvPr id="184" name="Oval 183">
              <a:extLst>
                <a:ext uri="{FF2B5EF4-FFF2-40B4-BE49-F238E27FC236}">
                  <a16:creationId xmlns:a16="http://schemas.microsoft.com/office/drawing/2014/main" id="{70786E95-CBD6-433A-86D3-7F3022F2ECAD}"/>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86" name="Group 185">
              <a:extLst>
                <a:ext uri="{FF2B5EF4-FFF2-40B4-BE49-F238E27FC236}">
                  <a16:creationId xmlns:a16="http://schemas.microsoft.com/office/drawing/2014/main" id="{CF5FE4AF-9231-4B00-90C0-A75ACDF09F9C}"/>
                </a:ext>
              </a:extLst>
            </p:cNvPr>
            <p:cNvGrpSpPr/>
            <p:nvPr/>
          </p:nvGrpSpPr>
          <p:grpSpPr>
            <a:xfrm>
              <a:off x="2070200" y="2126344"/>
              <a:ext cx="281519" cy="126591"/>
              <a:chOff x="2070200" y="2138317"/>
              <a:chExt cx="281519" cy="114618"/>
            </a:xfrm>
          </p:grpSpPr>
          <p:sp>
            <p:nvSpPr>
              <p:cNvPr id="187" name="Freeform: Shape 186">
                <a:extLst>
                  <a:ext uri="{FF2B5EF4-FFF2-40B4-BE49-F238E27FC236}">
                    <a16:creationId xmlns:a16="http://schemas.microsoft.com/office/drawing/2014/main" id="{4DEB34BF-97F4-438A-9797-E7AC8F615E9D}"/>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261A3159-04B8-4DBC-9AEF-CD79FB259B59}"/>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C0D8B164-BD56-42ED-8EFA-E3A44996FBB2}"/>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err="1">
                  <a:ln>
                    <a:noFill/>
                  </a:ln>
                  <a:solidFill>
                    <a:srgbClr val="505050"/>
                  </a:solidFill>
                  <a:effectLst/>
                  <a:uLnTx/>
                  <a:uFillTx/>
                  <a:latin typeface="Segoe UI Semilight"/>
                  <a:ea typeface="+mn-ea"/>
                  <a:cs typeface="+mn-cs"/>
                </a:endParaRPr>
              </a:p>
            </p:txBody>
          </p:sp>
        </p:grpSp>
      </p:grpSp>
      <p:grpSp>
        <p:nvGrpSpPr>
          <p:cNvPr id="249" name="Group 248">
            <a:extLst>
              <a:ext uri="{FF2B5EF4-FFF2-40B4-BE49-F238E27FC236}">
                <a16:creationId xmlns:a16="http://schemas.microsoft.com/office/drawing/2014/main" id="{D0F47A4B-29FB-47DF-B227-FEB6473D27D5}"/>
              </a:ext>
            </a:extLst>
          </p:cNvPr>
          <p:cNvGrpSpPr/>
          <p:nvPr/>
        </p:nvGrpSpPr>
        <p:grpSpPr>
          <a:xfrm>
            <a:off x="10587264" y="1890675"/>
            <a:ext cx="492448" cy="458120"/>
            <a:chOff x="4214813" y="1292225"/>
            <a:chExt cx="2573337" cy="2393950"/>
          </a:xfrm>
          <a:solidFill>
            <a:srgbClr val="0078D6"/>
          </a:solidFill>
        </p:grpSpPr>
        <p:sp>
          <p:nvSpPr>
            <p:cNvPr id="250" name="Freeform 1">
              <a:extLst>
                <a:ext uri="{FF2B5EF4-FFF2-40B4-BE49-F238E27FC236}">
                  <a16:creationId xmlns:a16="http://schemas.microsoft.com/office/drawing/2014/main" id="{F36159C1-5D69-426A-87CC-70B3856B0211}"/>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1" name="Freeform 2">
              <a:extLst>
                <a:ext uri="{FF2B5EF4-FFF2-40B4-BE49-F238E27FC236}">
                  <a16:creationId xmlns:a16="http://schemas.microsoft.com/office/drawing/2014/main" id="{D1A81BCD-9DAC-4475-B257-80340BF15352}"/>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2" name="Freeform 3">
              <a:extLst>
                <a:ext uri="{FF2B5EF4-FFF2-40B4-BE49-F238E27FC236}">
                  <a16:creationId xmlns:a16="http://schemas.microsoft.com/office/drawing/2014/main" id="{6A5175B6-2A2B-4316-9D1A-AD17F3C70450}"/>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3" name="Freeform 4">
              <a:extLst>
                <a:ext uri="{FF2B5EF4-FFF2-40B4-BE49-F238E27FC236}">
                  <a16:creationId xmlns:a16="http://schemas.microsoft.com/office/drawing/2014/main" id="{523B2C70-2892-443C-B248-BF9E0D84FB75}"/>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4" name="Freeform 5">
              <a:extLst>
                <a:ext uri="{FF2B5EF4-FFF2-40B4-BE49-F238E27FC236}">
                  <a16:creationId xmlns:a16="http://schemas.microsoft.com/office/drawing/2014/main" id="{805C937B-9A6B-49EB-912C-BB4BFD37DCC5}"/>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5" name="Freeform 6">
              <a:extLst>
                <a:ext uri="{FF2B5EF4-FFF2-40B4-BE49-F238E27FC236}">
                  <a16:creationId xmlns:a16="http://schemas.microsoft.com/office/drawing/2014/main" id="{E1CE8C7F-1869-4850-9429-970CF9D7A1ED}"/>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6" name="Freeform 7">
              <a:extLst>
                <a:ext uri="{FF2B5EF4-FFF2-40B4-BE49-F238E27FC236}">
                  <a16:creationId xmlns:a16="http://schemas.microsoft.com/office/drawing/2014/main" id="{30483119-9077-4F16-A6E3-4DA1AAFB3DD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7" name="Freeform 8">
              <a:extLst>
                <a:ext uri="{FF2B5EF4-FFF2-40B4-BE49-F238E27FC236}">
                  <a16:creationId xmlns:a16="http://schemas.microsoft.com/office/drawing/2014/main" id="{4AC7595C-BDDF-41D6-B0CE-F1D3CD866E1F}"/>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8" name="Freeform 9">
              <a:extLst>
                <a:ext uri="{FF2B5EF4-FFF2-40B4-BE49-F238E27FC236}">
                  <a16:creationId xmlns:a16="http://schemas.microsoft.com/office/drawing/2014/main" id="{0DD96968-F239-41F1-BF6B-83C932C65AF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9" name="Freeform 10">
              <a:extLst>
                <a:ext uri="{FF2B5EF4-FFF2-40B4-BE49-F238E27FC236}">
                  <a16:creationId xmlns:a16="http://schemas.microsoft.com/office/drawing/2014/main" id="{8544F730-EECB-447F-A369-1822D4220A4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0" name="Freeform 11">
              <a:extLst>
                <a:ext uri="{FF2B5EF4-FFF2-40B4-BE49-F238E27FC236}">
                  <a16:creationId xmlns:a16="http://schemas.microsoft.com/office/drawing/2014/main" id="{29FFAEE5-960B-4054-B443-14610691DCFB}"/>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1" name="Freeform 12">
              <a:extLst>
                <a:ext uri="{FF2B5EF4-FFF2-40B4-BE49-F238E27FC236}">
                  <a16:creationId xmlns:a16="http://schemas.microsoft.com/office/drawing/2014/main" id="{5B8C5623-3477-4BC2-9EFD-49AF3AC0A9F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2" name="Freeform 13">
              <a:extLst>
                <a:ext uri="{FF2B5EF4-FFF2-40B4-BE49-F238E27FC236}">
                  <a16:creationId xmlns:a16="http://schemas.microsoft.com/office/drawing/2014/main" id="{F71802B3-7A9F-45B8-8D5A-7C6E3FD9E75B}"/>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3" name="Freeform 14">
              <a:extLst>
                <a:ext uri="{FF2B5EF4-FFF2-40B4-BE49-F238E27FC236}">
                  <a16:creationId xmlns:a16="http://schemas.microsoft.com/office/drawing/2014/main" id="{091810FA-CF12-4A0D-845E-D7727EEBAF18}"/>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64" name="Group 263">
            <a:extLst>
              <a:ext uri="{FF2B5EF4-FFF2-40B4-BE49-F238E27FC236}">
                <a16:creationId xmlns:a16="http://schemas.microsoft.com/office/drawing/2014/main" id="{B5DAC5A1-0DCF-4F27-91D7-D4954A218416}"/>
              </a:ext>
            </a:extLst>
          </p:cNvPr>
          <p:cNvGrpSpPr/>
          <p:nvPr/>
        </p:nvGrpSpPr>
        <p:grpSpPr>
          <a:xfrm>
            <a:off x="5731391" y="3637098"/>
            <a:ext cx="400544" cy="400542"/>
            <a:chOff x="2335756" y="3558618"/>
            <a:chExt cx="318744" cy="318742"/>
          </a:xfrm>
        </p:grpSpPr>
        <p:sp>
          <p:nvSpPr>
            <p:cNvPr id="265" name="Freeform 22">
              <a:extLst>
                <a:ext uri="{FF2B5EF4-FFF2-40B4-BE49-F238E27FC236}">
                  <a16:creationId xmlns:a16="http://schemas.microsoft.com/office/drawing/2014/main" id="{0281BC68-0777-4BE8-B7E1-BC8F16D66FF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6" name="Oval 265">
              <a:extLst>
                <a:ext uri="{FF2B5EF4-FFF2-40B4-BE49-F238E27FC236}">
                  <a16:creationId xmlns:a16="http://schemas.microsoft.com/office/drawing/2014/main" id="{403F9B13-1696-431B-959D-6929C7978092}"/>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67" name="Group 266">
            <a:extLst>
              <a:ext uri="{FF2B5EF4-FFF2-40B4-BE49-F238E27FC236}">
                <a16:creationId xmlns:a16="http://schemas.microsoft.com/office/drawing/2014/main" id="{6CC6C93F-4964-4CAF-B601-19A01833B70B}"/>
              </a:ext>
            </a:extLst>
          </p:cNvPr>
          <p:cNvGrpSpPr/>
          <p:nvPr/>
        </p:nvGrpSpPr>
        <p:grpSpPr>
          <a:xfrm>
            <a:off x="7892893" y="3639538"/>
            <a:ext cx="435200" cy="395663"/>
            <a:chOff x="4530976" y="2990126"/>
            <a:chExt cx="231285" cy="210274"/>
          </a:xfrm>
        </p:grpSpPr>
        <p:sp>
          <p:nvSpPr>
            <p:cNvPr id="268" name="Freeform 5">
              <a:extLst>
                <a:ext uri="{FF2B5EF4-FFF2-40B4-BE49-F238E27FC236}">
                  <a16:creationId xmlns:a16="http://schemas.microsoft.com/office/drawing/2014/main" id="{E2C8FB76-84CE-450B-BED4-3833ACCAC9B5}"/>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69" name="Group 268">
              <a:extLst>
                <a:ext uri="{FF2B5EF4-FFF2-40B4-BE49-F238E27FC236}">
                  <a16:creationId xmlns:a16="http://schemas.microsoft.com/office/drawing/2014/main" id="{ED37A98D-1659-4E81-B11B-6C3737AE3E0D}"/>
                </a:ext>
              </a:extLst>
            </p:cNvPr>
            <p:cNvGrpSpPr/>
            <p:nvPr/>
          </p:nvGrpSpPr>
          <p:grpSpPr>
            <a:xfrm>
              <a:off x="4646619" y="3052306"/>
              <a:ext cx="0" cy="122254"/>
              <a:chOff x="4791447" y="2616042"/>
              <a:chExt cx="0" cy="1427764"/>
            </a:xfrm>
          </p:grpSpPr>
          <p:cxnSp>
            <p:nvCxnSpPr>
              <p:cNvPr id="270" name="Straight Connector 269">
                <a:extLst>
                  <a:ext uri="{FF2B5EF4-FFF2-40B4-BE49-F238E27FC236}">
                    <a16:creationId xmlns:a16="http://schemas.microsoft.com/office/drawing/2014/main" id="{DBE4F3E0-016C-46AE-8920-5D9F056D1CC4}"/>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C486B-6846-4EDB-99F5-486658A03DFA}"/>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2" name="Group 271">
            <a:extLst>
              <a:ext uri="{FF2B5EF4-FFF2-40B4-BE49-F238E27FC236}">
                <a16:creationId xmlns:a16="http://schemas.microsoft.com/office/drawing/2014/main" id="{BD0BAFE0-4037-45A0-8361-2810A57C0A17}"/>
              </a:ext>
            </a:extLst>
          </p:cNvPr>
          <p:cNvGrpSpPr/>
          <p:nvPr/>
        </p:nvGrpSpPr>
        <p:grpSpPr>
          <a:xfrm>
            <a:off x="8146596" y="4932273"/>
            <a:ext cx="612740" cy="486364"/>
            <a:chOff x="4223626" y="2353385"/>
            <a:chExt cx="1173971" cy="931848"/>
          </a:xfrm>
        </p:grpSpPr>
        <p:grpSp>
          <p:nvGrpSpPr>
            <p:cNvPr id="273" name="Group 272">
              <a:extLst>
                <a:ext uri="{FF2B5EF4-FFF2-40B4-BE49-F238E27FC236}">
                  <a16:creationId xmlns:a16="http://schemas.microsoft.com/office/drawing/2014/main" id="{03DAE14E-9E1F-421C-A13D-1862D6D6B759}"/>
                </a:ext>
              </a:extLst>
            </p:cNvPr>
            <p:cNvGrpSpPr/>
            <p:nvPr/>
          </p:nvGrpSpPr>
          <p:grpSpPr>
            <a:xfrm>
              <a:off x="4273550" y="2402418"/>
              <a:ext cx="1079500" cy="840315"/>
              <a:chOff x="4273550" y="2402418"/>
              <a:chExt cx="1079500" cy="840315"/>
            </a:xfrm>
          </p:grpSpPr>
          <p:cxnSp>
            <p:nvCxnSpPr>
              <p:cNvPr id="282" name="Straight Connector 281">
                <a:extLst>
                  <a:ext uri="{FF2B5EF4-FFF2-40B4-BE49-F238E27FC236}">
                    <a16:creationId xmlns:a16="http://schemas.microsoft.com/office/drawing/2014/main" id="{FF55EC47-BC5D-447E-80F8-ABABEE6C8B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3" name="Straight Connector 282">
                <a:extLst>
                  <a:ext uri="{FF2B5EF4-FFF2-40B4-BE49-F238E27FC236}">
                    <a16:creationId xmlns:a16="http://schemas.microsoft.com/office/drawing/2014/main" id="{8F516592-3349-4B90-B9BE-23E548CC8BB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E5FB8D1D-CF3D-4009-8AD2-A3EBB0FF1B58}"/>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5" name="Straight Connector 284">
                <a:extLst>
                  <a:ext uri="{FF2B5EF4-FFF2-40B4-BE49-F238E27FC236}">
                    <a16:creationId xmlns:a16="http://schemas.microsoft.com/office/drawing/2014/main" id="{ADC5C1D7-A05D-4EEA-B719-F432808BA566}"/>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27E1D2E8-F6A2-468F-9770-9066AC8AD3EF}"/>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7" name="Straight Connector 286">
                <a:extLst>
                  <a:ext uri="{FF2B5EF4-FFF2-40B4-BE49-F238E27FC236}">
                    <a16:creationId xmlns:a16="http://schemas.microsoft.com/office/drawing/2014/main" id="{FEA242D6-205D-4F4D-8B50-42FA6D33D1CD}"/>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8" name="Straight Connector 287">
                <a:extLst>
                  <a:ext uri="{FF2B5EF4-FFF2-40B4-BE49-F238E27FC236}">
                    <a16:creationId xmlns:a16="http://schemas.microsoft.com/office/drawing/2014/main" id="{FFA6D659-4A00-4DE1-AE47-8EC37682C2B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9" name="Straight Connector 288">
                <a:extLst>
                  <a:ext uri="{FF2B5EF4-FFF2-40B4-BE49-F238E27FC236}">
                    <a16:creationId xmlns:a16="http://schemas.microsoft.com/office/drawing/2014/main" id="{FFCE8B8D-5364-4D29-AC19-D858955B934F}"/>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0" name="Straight Connector 289">
                <a:extLst>
                  <a:ext uri="{FF2B5EF4-FFF2-40B4-BE49-F238E27FC236}">
                    <a16:creationId xmlns:a16="http://schemas.microsoft.com/office/drawing/2014/main" id="{A5EAEE32-ABDF-496E-9BAC-B16DE103E4C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1" name="Straight Connector 290">
                <a:extLst>
                  <a:ext uri="{FF2B5EF4-FFF2-40B4-BE49-F238E27FC236}">
                    <a16:creationId xmlns:a16="http://schemas.microsoft.com/office/drawing/2014/main" id="{1B60DD97-5CF8-4BE7-915C-3F93B61163C1}"/>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2" name="Straight Connector 291">
                <a:extLst>
                  <a:ext uri="{FF2B5EF4-FFF2-40B4-BE49-F238E27FC236}">
                    <a16:creationId xmlns:a16="http://schemas.microsoft.com/office/drawing/2014/main" id="{A2862EFB-2F24-4F3F-8EFF-3ED99CFBC32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3" name="Straight Connector 292">
                <a:extLst>
                  <a:ext uri="{FF2B5EF4-FFF2-40B4-BE49-F238E27FC236}">
                    <a16:creationId xmlns:a16="http://schemas.microsoft.com/office/drawing/2014/main" id="{8179D5C8-DF55-44AA-950C-965E642FF2B2}"/>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4" name="Straight Connector 293">
                <a:extLst>
                  <a:ext uri="{FF2B5EF4-FFF2-40B4-BE49-F238E27FC236}">
                    <a16:creationId xmlns:a16="http://schemas.microsoft.com/office/drawing/2014/main" id="{2DD1A083-0CA2-4485-B9BE-7E74BFFED5B2}"/>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5" name="Straight Connector 294">
                <a:extLst>
                  <a:ext uri="{FF2B5EF4-FFF2-40B4-BE49-F238E27FC236}">
                    <a16:creationId xmlns:a16="http://schemas.microsoft.com/office/drawing/2014/main" id="{BA35D161-BE97-4B0D-9674-977DB88732DF}"/>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74" name="Oval 19">
              <a:extLst>
                <a:ext uri="{FF2B5EF4-FFF2-40B4-BE49-F238E27FC236}">
                  <a16:creationId xmlns:a16="http://schemas.microsoft.com/office/drawing/2014/main" id="{97968D62-3A7D-4CAA-9126-6A5025384FD0}"/>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5" name="Oval 19">
              <a:extLst>
                <a:ext uri="{FF2B5EF4-FFF2-40B4-BE49-F238E27FC236}">
                  <a16:creationId xmlns:a16="http://schemas.microsoft.com/office/drawing/2014/main" id="{472FB06B-0E35-49C3-9E2B-72D0BA0625B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6" name="Oval 19">
              <a:extLst>
                <a:ext uri="{FF2B5EF4-FFF2-40B4-BE49-F238E27FC236}">
                  <a16:creationId xmlns:a16="http://schemas.microsoft.com/office/drawing/2014/main" id="{944E915E-F22C-460E-B16D-F3F1151A837B}"/>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7" name="Oval 19">
              <a:extLst>
                <a:ext uri="{FF2B5EF4-FFF2-40B4-BE49-F238E27FC236}">
                  <a16:creationId xmlns:a16="http://schemas.microsoft.com/office/drawing/2014/main" id="{AAD3ED21-C04D-457F-B2AE-20F1DAECAA5F}"/>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8" name="Oval 19">
              <a:extLst>
                <a:ext uri="{FF2B5EF4-FFF2-40B4-BE49-F238E27FC236}">
                  <a16:creationId xmlns:a16="http://schemas.microsoft.com/office/drawing/2014/main" id="{CE9C9FB8-2AE0-44A9-835A-B6EF2A291F4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79" name="Oval 19">
              <a:extLst>
                <a:ext uri="{FF2B5EF4-FFF2-40B4-BE49-F238E27FC236}">
                  <a16:creationId xmlns:a16="http://schemas.microsoft.com/office/drawing/2014/main" id="{AC22F11C-2317-4271-B684-B0D125AA54D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0" name="Oval 19">
              <a:extLst>
                <a:ext uri="{FF2B5EF4-FFF2-40B4-BE49-F238E27FC236}">
                  <a16:creationId xmlns:a16="http://schemas.microsoft.com/office/drawing/2014/main" id="{263128C5-053A-4B05-B870-A2039A85616F}"/>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81" name="Oval 19">
              <a:extLst>
                <a:ext uri="{FF2B5EF4-FFF2-40B4-BE49-F238E27FC236}">
                  <a16:creationId xmlns:a16="http://schemas.microsoft.com/office/drawing/2014/main" id="{12D1BE23-8990-4C36-BC5C-FDE8977E483C}"/>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4961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results of the operations are collected by the driver</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creating Azure Databricks clusters you can choose Autoscaling and Auto Termination options.</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Just specify the min and max number of clusters. Azure Databricks automatically scales up or down based on load.</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After the specified minutes of inactivity the cluster is automatically terminated.</a:t>
            </a:r>
          </a:p>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Benefit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guess, or determine by trial and error, the correct number of nodes for the cluster</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s the workload changes you do not have to manually tweak the number of node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orry about wasting resources when the cluster is idle. You only pay for resource when they are actually being used</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F1582C"/>
                </a:solidFill>
                <a:effectLst/>
                <a:uLnTx/>
                <a:uFillTx/>
                <a:latin typeface="Segoe UI" panose="020B0502040204020203" pitchFamily="34" charset="0"/>
                <a:ea typeface="+mn-ea"/>
                <a:cs typeface="Segoe UI" panose="020B0502040204020203" pitchFamily="34" charset="0"/>
              </a:rPr>
              <a:t>SOURCE: </a:t>
            </a:r>
            <a:r>
              <a:rPr kumimoji="0" lang="en-US" sz="1400" b="0" i="0" u="sng"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hlinkClick r:id="rId4"/>
              </a:rPr>
              <a:t>Benchmarking Big Data SQL Platforms in the Cloud</a:t>
            </a:r>
            <a:endParaRPr kumimoji="0" lang="en-US" sz="1400" b="0" i="0" u="none"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Modern Big Data Warehouse</a:t>
            </a:r>
          </a:p>
        </p:txBody>
      </p:sp>
      <p:sp>
        <p:nvSpPr>
          <p:cNvPr id="91" name="Right Bracket 90">
            <a:extLst>
              <a:ext uri="{FF2B5EF4-FFF2-40B4-BE49-F238E27FC236}">
                <a16:creationId xmlns:a16="http://schemas.microsoft.com/office/drawing/2014/main" id="{85B96194-7FA2-49AA-A1AE-11E35A03549D}"/>
              </a:ext>
            </a:extLst>
          </p:cNvPr>
          <p:cNvSpPr/>
          <p:nvPr/>
        </p:nvSpPr>
        <p:spPr>
          <a:xfrm>
            <a:off x="2215617" y="2358243"/>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550A65AC-3084-4590-8CF1-DC393F531BEF}"/>
              </a:ext>
            </a:extLst>
          </p:cNvPr>
          <p:cNvSpPr txBox="1"/>
          <p:nvPr/>
        </p:nvSpPr>
        <p:spPr>
          <a:xfrm>
            <a:off x="308034" y="4794866"/>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308035" y="2531672"/>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flipV="1">
            <a:off x="4969710" y="2825544"/>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923284" y="4914098"/>
            <a:ext cx="717007"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4004484" y="3117106"/>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4592872" y="4833081"/>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424579" y="5240013"/>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672827" y="311710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87" name="Rectangle 86">
            <a:extLst>
              <a:ext uri="{FF2B5EF4-FFF2-40B4-BE49-F238E27FC236}">
                <a16:creationId xmlns:a16="http://schemas.microsoft.com/office/drawing/2014/main" id="{C93F26C1-C087-4E48-8AF6-1018382BC9D0}"/>
              </a:ext>
            </a:extLst>
          </p:cNvPr>
          <p:cNvSpPr/>
          <p:nvPr/>
        </p:nvSpPr>
        <p:spPr>
          <a:xfrm>
            <a:off x="2672827" y="5057423"/>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602550" y="2815789"/>
            <a:ext cx="3548554" cy="175126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502777" y="3117106"/>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4" name="Group 3">
            <a:extLst>
              <a:ext uri="{FF2B5EF4-FFF2-40B4-BE49-F238E27FC236}">
                <a16:creationId xmlns:a16="http://schemas.microsoft.com/office/drawing/2014/main" id="{413AD72E-FCC7-4790-A51E-F82923F8E09F}"/>
              </a:ext>
            </a:extLst>
          </p:cNvPr>
          <p:cNvGrpSpPr/>
          <p:nvPr/>
        </p:nvGrpSpPr>
        <p:grpSpPr>
          <a:xfrm>
            <a:off x="571089" y="4295397"/>
            <a:ext cx="1064771" cy="406286"/>
            <a:chOff x="579957" y="1614888"/>
            <a:chExt cx="1064771" cy="406286"/>
          </a:xfrm>
        </p:grpSpPr>
        <p:grpSp>
          <p:nvGrpSpPr>
            <p:cNvPr id="161" name="Group 160">
              <a:extLst>
                <a:ext uri="{FF2B5EF4-FFF2-40B4-BE49-F238E27FC236}">
                  <a16:creationId xmlns:a16="http://schemas.microsoft.com/office/drawing/2014/main" id="{25C8F957-B6F7-4FC0-9FDA-9C79699C6455}"/>
                </a:ext>
              </a:extLst>
            </p:cNvPr>
            <p:cNvGrpSpPr/>
            <p:nvPr/>
          </p:nvGrpSpPr>
          <p:grpSpPr>
            <a:xfrm>
              <a:off x="1174991" y="1632049"/>
              <a:ext cx="469737" cy="385154"/>
              <a:chOff x="1778647" y="1301093"/>
              <a:chExt cx="307813" cy="252387"/>
            </a:xfrm>
            <a:noFill/>
          </p:grpSpPr>
          <p:grpSp>
            <p:nvGrpSpPr>
              <p:cNvPr id="162" name="Group 161">
                <a:extLst>
                  <a:ext uri="{FF2B5EF4-FFF2-40B4-BE49-F238E27FC236}">
                    <a16:creationId xmlns:a16="http://schemas.microsoft.com/office/drawing/2014/main" id="{63615FA2-99E9-4F90-B4E1-FFC3AE9DFDD7}"/>
                  </a:ext>
                </a:extLst>
              </p:cNvPr>
              <p:cNvGrpSpPr/>
              <p:nvPr/>
            </p:nvGrpSpPr>
            <p:grpSpPr>
              <a:xfrm>
                <a:off x="1778647" y="1301093"/>
                <a:ext cx="307813" cy="252387"/>
                <a:chOff x="2107086" y="1452805"/>
                <a:chExt cx="307813" cy="252387"/>
              </a:xfrm>
              <a:grpFill/>
            </p:grpSpPr>
            <p:sp>
              <p:nvSpPr>
                <p:cNvPr id="165" name="Rectangle 164">
                  <a:extLst>
                    <a:ext uri="{FF2B5EF4-FFF2-40B4-BE49-F238E27FC236}">
                      <a16:creationId xmlns:a16="http://schemas.microsoft.com/office/drawing/2014/main" id="{6D770334-E05F-4383-91F9-7AC2F185A497}"/>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2AB733D5-2232-4906-9C4C-B59618406DF0}"/>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5A4DD559-F24E-4266-A426-9778D8FF9135}"/>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392A6F2-321D-4243-BFB0-725AD35D5AFD}"/>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63" name="Straight Connector 162">
                <a:extLst>
                  <a:ext uri="{FF2B5EF4-FFF2-40B4-BE49-F238E27FC236}">
                    <a16:creationId xmlns:a16="http://schemas.microsoft.com/office/drawing/2014/main" id="{D6C7C46B-A9CC-40A9-9B15-3B3FD48D27E4}"/>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4" name="Straight Connector 163">
                <a:extLst>
                  <a:ext uri="{FF2B5EF4-FFF2-40B4-BE49-F238E27FC236}">
                    <a16:creationId xmlns:a16="http://schemas.microsoft.com/office/drawing/2014/main" id="{388C9012-F887-4A54-89FF-BCF5F0F4168E}"/>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69" name="Group 168">
              <a:extLst>
                <a:ext uri="{FF2B5EF4-FFF2-40B4-BE49-F238E27FC236}">
                  <a16:creationId xmlns:a16="http://schemas.microsoft.com/office/drawing/2014/main" id="{08173163-8CBE-4117-950D-C142AEAF6C3F}"/>
                </a:ext>
              </a:extLst>
            </p:cNvPr>
            <p:cNvGrpSpPr>
              <a:grpSpLocks noChangeAspect="1"/>
            </p:cNvGrpSpPr>
            <p:nvPr/>
          </p:nvGrpSpPr>
          <p:grpSpPr bwMode="auto">
            <a:xfrm>
              <a:off x="579957" y="1614888"/>
              <a:ext cx="416196" cy="406286"/>
              <a:chOff x="1759" y="236"/>
              <a:chExt cx="252" cy="246"/>
            </a:xfrm>
            <a:noFill/>
          </p:grpSpPr>
          <p:sp>
            <p:nvSpPr>
              <p:cNvPr id="170" name="Freeform 106">
                <a:extLst>
                  <a:ext uri="{FF2B5EF4-FFF2-40B4-BE49-F238E27FC236}">
                    <a16:creationId xmlns:a16="http://schemas.microsoft.com/office/drawing/2014/main" id="{D06F49A6-DE65-4BC6-B274-44452F34990B}"/>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83413F5B-B73D-4C52-B7F1-AC6339896E58}"/>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47BC0014-23CF-46FE-8ED4-EF3F3F2C295D}"/>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D0D4E8A6-3BAA-4868-AEAB-458A887D997B}"/>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2614C22-A2EE-459C-BFCB-A351F0350F05}"/>
              </a:ext>
            </a:extLst>
          </p:cNvPr>
          <p:cNvGrpSpPr/>
          <p:nvPr/>
        </p:nvGrpSpPr>
        <p:grpSpPr>
          <a:xfrm>
            <a:off x="511757" y="2106315"/>
            <a:ext cx="1167152" cy="348720"/>
            <a:chOff x="1555307" y="5853300"/>
            <a:chExt cx="1271350" cy="379852"/>
          </a:xfrm>
        </p:grpSpPr>
        <p:grpSp>
          <p:nvGrpSpPr>
            <p:cNvPr id="174" name="Group 4">
              <a:extLst>
                <a:ext uri="{FF2B5EF4-FFF2-40B4-BE49-F238E27FC236}">
                  <a16:creationId xmlns:a16="http://schemas.microsoft.com/office/drawing/2014/main" id="{0187442F-0B75-4AB6-81AC-EFDCB085F8FF}"/>
                </a:ext>
              </a:extLst>
            </p:cNvPr>
            <p:cNvGrpSpPr>
              <a:grpSpLocks noChangeAspect="1"/>
            </p:cNvGrpSpPr>
            <p:nvPr/>
          </p:nvGrpSpPr>
          <p:grpSpPr bwMode="auto">
            <a:xfrm>
              <a:off x="1555307" y="5853300"/>
              <a:ext cx="259568" cy="379852"/>
              <a:chOff x="3526" y="3353"/>
              <a:chExt cx="164" cy="240"/>
            </a:xfrm>
          </p:grpSpPr>
          <p:sp>
            <p:nvSpPr>
              <p:cNvPr id="175" name="Freeform 5">
                <a:extLst>
                  <a:ext uri="{FF2B5EF4-FFF2-40B4-BE49-F238E27FC236}">
                    <a16:creationId xmlns:a16="http://schemas.microsoft.com/office/drawing/2014/main" id="{ED3AD797-DCD7-4D8F-B8E0-0DACE203E0BA}"/>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6" name="Freeform 6">
                <a:extLst>
                  <a:ext uri="{FF2B5EF4-FFF2-40B4-BE49-F238E27FC236}">
                    <a16:creationId xmlns:a16="http://schemas.microsoft.com/office/drawing/2014/main" id="{B4A60F5B-3B40-428B-8F45-6B49CC1E121B}"/>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7" name="Freeform 7">
                <a:extLst>
                  <a:ext uri="{FF2B5EF4-FFF2-40B4-BE49-F238E27FC236}">
                    <a16:creationId xmlns:a16="http://schemas.microsoft.com/office/drawing/2014/main" id="{9AB9007F-0E80-432F-A57D-8217512D1A3A}"/>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178" name="Group 177">
              <a:extLst>
                <a:ext uri="{FF2B5EF4-FFF2-40B4-BE49-F238E27FC236}">
                  <a16:creationId xmlns:a16="http://schemas.microsoft.com/office/drawing/2014/main" id="{8E0130CE-34CE-4BD6-9371-79438752B500}"/>
                </a:ext>
              </a:extLst>
            </p:cNvPr>
            <p:cNvGrpSpPr/>
            <p:nvPr/>
          </p:nvGrpSpPr>
          <p:grpSpPr>
            <a:xfrm>
              <a:off x="1984596" y="5863452"/>
              <a:ext cx="293717" cy="359549"/>
              <a:chOff x="965200" y="3436897"/>
              <a:chExt cx="528881" cy="647424"/>
            </a:xfrm>
          </p:grpSpPr>
          <p:grpSp>
            <p:nvGrpSpPr>
              <p:cNvPr id="179" name="Group 178">
                <a:extLst>
                  <a:ext uri="{FF2B5EF4-FFF2-40B4-BE49-F238E27FC236}">
                    <a16:creationId xmlns:a16="http://schemas.microsoft.com/office/drawing/2014/main" id="{3FD7338A-C414-42AE-A456-F177C7916708}"/>
                  </a:ext>
                </a:extLst>
              </p:cNvPr>
              <p:cNvGrpSpPr/>
              <p:nvPr/>
            </p:nvGrpSpPr>
            <p:grpSpPr>
              <a:xfrm flipH="1">
                <a:off x="965200" y="3436897"/>
                <a:ext cx="528881" cy="647424"/>
                <a:chOff x="3003960" y="3685414"/>
                <a:chExt cx="403310" cy="493707"/>
              </a:xfrm>
            </p:grpSpPr>
            <p:sp>
              <p:nvSpPr>
                <p:cNvPr id="184" name="Snip Single Corner Rectangle 26">
                  <a:extLst>
                    <a:ext uri="{FF2B5EF4-FFF2-40B4-BE49-F238E27FC236}">
                      <a16:creationId xmlns:a16="http://schemas.microsoft.com/office/drawing/2014/main" id="{088431C5-9E6A-4929-9282-4FB5FFB697AE}"/>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iangle 27">
                  <a:extLst>
                    <a:ext uri="{FF2B5EF4-FFF2-40B4-BE49-F238E27FC236}">
                      <a16:creationId xmlns:a16="http://schemas.microsoft.com/office/drawing/2014/main" id="{24F052E1-6371-413D-B1F1-D3D2F4D1AF1A}"/>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80" name="Straight Connector 179">
                <a:extLst>
                  <a:ext uri="{FF2B5EF4-FFF2-40B4-BE49-F238E27FC236}">
                    <a16:creationId xmlns:a16="http://schemas.microsoft.com/office/drawing/2014/main" id="{CF973DD6-A6D7-4C97-9863-CA724F0F6E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F0E018C-DB4B-46E8-9318-7F7659AD277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AA95EC7-9451-4BAB-9458-5F8720B1891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492C968-91E8-496A-9858-24BD71A5C7BB}"/>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652890A-4F03-4E84-B982-708F1E31C01E}"/>
                </a:ext>
              </a:extLst>
            </p:cNvPr>
            <p:cNvGrpSpPr/>
            <p:nvPr/>
          </p:nvGrpSpPr>
          <p:grpSpPr>
            <a:xfrm>
              <a:off x="2448035" y="5853915"/>
              <a:ext cx="378622" cy="378622"/>
              <a:chOff x="1658620" y="1705294"/>
              <a:chExt cx="326376" cy="326376"/>
            </a:xfrm>
          </p:grpSpPr>
          <p:sp>
            <p:nvSpPr>
              <p:cNvPr id="5" name="Oval 4">
                <a:extLst>
                  <a:ext uri="{FF2B5EF4-FFF2-40B4-BE49-F238E27FC236}">
                    <a16:creationId xmlns:a16="http://schemas.microsoft.com/office/drawing/2014/main" id="{D849AE95-D0A6-4732-AAAA-430DAE1781C8}"/>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5D7062B7-34DF-4D11-8E87-34A398F6F6A3}"/>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0BB6CEC0-A098-427D-843C-6473E9BDCCEB}"/>
              </a:ext>
            </a:extLst>
          </p:cNvPr>
          <p:cNvGrpSpPr/>
          <p:nvPr/>
        </p:nvGrpSpPr>
        <p:grpSpPr>
          <a:xfrm>
            <a:off x="4275680" y="2580933"/>
            <a:ext cx="554226" cy="49422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9081256" y="4439748"/>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E3755033-5A4D-4A15-AA4B-93873EE60743}"/>
              </a:ext>
            </a:extLst>
          </p:cNvPr>
          <p:cNvGrpSpPr/>
          <p:nvPr/>
        </p:nvGrpSpPr>
        <p:grpSpPr>
          <a:xfrm>
            <a:off x="2953700" y="2587700"/>
            <a:ext cx="485337" cy="487453"/>
            <a:chOff x="5279190" y="5401430"/>
            <a:chExt cx="1101836" cy="1106637"/>
          </a:xfrm>
        </p:grpSpPr>
        <p:sp>
          <p:nvSpPr>
            <p:cNvPr id="205" name="Freeform: Shape 815">
              <a:extLst>
                <a:ext uri="{FF2B5EF4-FFF2-40B4-BE49-F238E27FC236}">
                  <a16:creationId xmlns:a16="http://schemas.microsoft.com/office/drawing/2014/main" id="{AC1FABD0-638F-486A-8EEA-6A1D7F640CD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6" name="Freeform: Shape 816">
              <a:extLst>
                <a:ext uri="{FF2B5EF4-FFF2-40B4-BE49-F238E27FC236}">
                  <a16:creationId xmlns:a16="http://schemas.microsoft.com/office/drawing/2014/main" id="{97DED238-7DF5-4C5D-BC6B-69AC0B31A78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7" name="Freeform: Shape 817">
              <a:extLst>
                <a:ext uri="{FF2B5EF4-FFF2-40B4-BE49-F238E27FC236}">
                  <a16:creationId xmlns:a16="http://schemas.microsoft.com/office/drawing/2014/main" id="{DB69CEC7-9208-45E1-BACF-A58B784774C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8" name="Freeform: Shape 818">
              <a:extLst>
                <a:ext uri="{FF2B5EF4-FFF2-40B4-BE49-F238E27FC236}">
                  <a16:creationId xmlns:a16="http://schemas.microsoft.com/office/drawing/2014/main" id="{E2189A0F-3C31-4E40-9EF8-77C25E2A4667}"/>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09" name="Freeform: Shape 819">
              <a:extLst>
                <a:ext uri="{FF2B5EF4-FFF2-40B4-BE49-F238E27FC236}">
                  <a16:creationId xmlns:a16="http://schemas.microsoft.com/office/drawing/2014/main" id="{04653F42-7E1C-44F5-B45D-F771AAB4947B}"/>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585" name="Connector: Elbow 584">
            <a:extLst>
              <a:ext uri="{FF2B5EF4-FFF2-40B4-BE49-F238E27FC236}">
                <a16:creationId xmlns:a16="http://schemas.microsoft.com/office/drawing/2014/main" id="{29EDCC12-5C80-4946-BB77-3E89918104DB}"/>
              </a:ext>
            </a:extLst>
          </p:cNvPr>
          <p:cNvCxnSpPr>
            <a:cxnSpLocks/>
            <a:stCxn id="584" idx="2"/>
          </p:cNvCxnSpPr>
          <p:nvPr/>
        </p:nvCxnSpPr>
        <p:spPr>
          <a:xfrm rot="16200000" flipH="1">
            <a:off x="6020755" y="1903061"/>
            <a:ext cx="1322304" cy="425822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3572438" y="4836624"/>
            <a:ext cx="523858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16E02355-1FDC-4FE5-850B-4BC21C25D34F}"/>
              </a:ext>
            </a:extLst>
          </p:cNvPr>
          <p:cNvCxnSpPr>
            <a:cxnSpLocks/>
          </p:cNvCxnSpPr>
          <p:nvPr/>
        </p:nvCxnSpPr>
        <p:spPr>
          <a:xfrm>
            <a:off x="3572437" y="2828043"/>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2DD2C98C-EDA4-41FA-968C-0AEE42B53C8A}"/>
              </a:ext>
            </a:extLst>
          </p:cNvPr>
          <p:cNvCxnSpPr>
            <a:cxnSpLocks/>
          </p:cNvCxnSpPr>
          <p:nvPr/>
        </p:nvCxnSpPr>
        <p:spPr>
          <a:xfrm>
            <a:off x="2316994" y="2828043"/>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6B378C9D-67C6-4AF3-9BA2-B2F8D7EAA46C}"/>
              </a:ext>
            </a:extLst>
          </p:cNvPr>
          <p:cNvCxnSpPr>
            <a:cxnSpLocks/>
          </p:cNvCxnSpPr>
          <p:nvPr/>
        </p:nvCxnSpPr>
        <p:spPr>
          <a:xfrm>
            <a:off x="2316994" y="4834959"/>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B9123C0B-51C4-48E5-ADC8-57BE594C17D2}"/>
              </a:ext>
            </a:extLst>
          </p:cNvPr>
          <p:cNvGrpSpPr/>
          <p:nvPr/>
        </p:nvGrpSpPr>
        <p:grpSpPr>
          <a:xfrm>
            <a:off x="2953700" y="4519140"/>
            <a:ext cx="485337" cy="487453"/>
            <a:chOff x="5279190" y="5401430"/>
            <a:chExt cx="1101836" cy="1106637"/>
          </a:xfrm>
        </p:grpSpPr>
        <p:sp>
          <p:nvSpPr>
            <p:cNvPr id="218" name="Freeform: Shape 815">
              <a:extLst>
                <a:ext uri="{FF2B5EF4-FFF2-40B4-BE49-F238E27FC236}">
                  <a16:creationId xmlns:a16="http://schemas.microsoft.com/office/drawing/2014/main" id="{882050E2-DD05-4785-BA28-545A84A8586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9" name="Freeform: Shape 816">
              <a:extLst>
                <a:ext uri="{FF2B5EF4-FFF2-40B4-BE49-F238E27FC236}">
                  <a16:creationId xmlns:a16="http://schemas.microsoft.com/office/drawing/2014/main" id="{E13CCDC1-8686-4B39-B24E-1C5F703621E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0" name="Freeform: Shape 817">
              <a:extLst>
                <a:ext uri="{FF2B5EF4-FFF2-40B4-BE49-F238E27FC236}">
                  <a16:creationId xmlns:a16="http://schemas.microsoft.com/office/drawing/2014/main" id="{B0930802-92EC-4BEB-8492-9251A1E8DE55}"/>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1" name="Freeform: Shape 818">
              <a:extLst>
                <a:ext uri="{FF2B5EF4-FFF2-40B4-BE49-F238E27FC236}">
                  <a16:creationId xmlns:a16="http://schemas.microsoft.com/office/drawing/2014/main" id="{42E1F51A-354C-49F1-A34E-E116A8F2344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22" name="Freeform: Shape 819">
              <a:extLst>
                <a:ext uri="{FF2B5EF4-FFF2-40B4-BE49-F238E27FC236}">
                  <a16:creationId xmlns:a16="http://schemas.microsoft.com/office/drawing/2014/main" id="{0D96DED3-49C6-4C25-A046-1C768D5BDD5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26" name="Shape 101">
            <a:extLst>
              <a:ext uri="{FF2B5EF4-FFF2-40B4-BE49-F238E27FC236}">
                <a16:creationId xmlns:a16="http://schemas.microsoft.com/office/drawing/2014/main" id="{7B4DF503-F480-496E-A733-DD9FAD666D7B}"/>
              </a:ext>
            </a:extLst>
          </p:cNvPr>
          <p:cNvSpPr txBox="1"/>
          <p:nvPr/>
        </p:nvSpPr>
        <p:spPr>
          <a:xfrm>
            <a:off x="10409065" y="5271020"/>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16416" y="4567055"/>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919439" y="2616558"/>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4" name="Rectangle 93">
            <a:extLst>
              <a:ext uri="{FF2B5EF4-FFF2-40B4-BE49-F238E27FC236}">
                <a16:creationId xmlns:a16="http://schemas.microsoft.com/office/drawing/2014/main" id="{BA985EA6-8666-4C60-9C76-D0881EBEF3AB}"/>
              </a:ext>
            </a:extLst>
          </p:cNvPr>
          <p:cNvSpPr/>
          <p:nvPr/>
        </p:nvSpPr>
        <p:spPr bwMode="auto">
          <a:xfrm>
            <a:off x="1936542" y="1546386"/>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93DF19E2-A7D3-42A4-B703-3947DB9172EB}"/>
              </a:ext>
            </a:extLst>
          </p:cNvPr>
          <p:cNvSpPr/>
          <p:nvPr/>
        </p:nvSpPr>
        <p:spPr bwMode="auto">
          <a:xfrm>
            <a:off x="8616021" y="174913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96" name="Rectangle 95">
            <a:extLst>
              <a:ext uri="{FF2B5EF4-FFF2-40B4-BE49-F238E27FC236}">
                <a16:creationId xmlns:a16="http://schemas.microsoft.com/office/drawing/2014/main" id="{00834D8A-E685-4B38-9566-AED579F7460F}"/>
              </a:ext>
            </a:extLst>
          </p:cNvPr>
          <p:cNvSpPr/>
          <p:nvPr/>
        </p:nvSpPr>
        <p:spPr bwMode="auto">
          <a:xfrm>
            <a:off x="6608998" y="174913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97" name="Rectangle 96">
            <a:extLst>
              <a:ext uri="{FF2B5EF4-FFF2-40B4-BE49-F238E27FC236}">
                <a16:creationId xmlns:a16="http://schemas.microsoft.com/office/drawing/2014/main" id="{8AAD36A6-EF35-4C3B-9523-3136021C9A6A}"/>
              </a:ext>
            </a:extLst>
          </p:cNvPr>
          <p:cNvSpPr/>
          <p:nvPr/>
        </p:nvSpPr>
        <p:spPr bwMode="auto">
          <a:xfrm>
            <a:off x="4564817" y="174913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98" name="Rectangle 97">
            <a:extLst>
              <a:ext uri="{FF2B5EF4-FFF2-40B4-BE49-F238E27FC236}">
                <a16:creationId xmlns:a16="http://schemas.microsoft.com/office/drawing/2014/main" id="{43F28F59-1A65-4471-B7E8-B861F6BE5A8D}"/>
              </a:ext>
            </a:extLst>
          </p:cNvPr>
          <p:cNvSpPr/>
          <p:nvPr/>
        </p:nvSpPr>
        <p:spPr bwMode="auto">
          <a:xfrm>
            <a:off x="2609300" y="174913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cxnSp>
        <p:nvCxnSpPr>
          <p:cNvPr id="101" name="Connector: Elbow 100">
            <a:extLst>
              <a:ext uri="{FF2B5EF4-FFF2-40B4-BE49-F238E27FC236}">
                <a16:creationId xmlns:a16="http://schemas.microsoft.com/office/drawing/2014/main" id="{191526F0-B3BC-4F6E-833A-764B0E148B18}"/>
              </a:ext>
            </a:extLst>
          </p:cNvPr>
          <p:cNvCxnSpPr>
            <a:cxnSpLocks/>
          </p:cNvCxnSpPr>
          <p:nvPr/>
        </p:nvCxnSpPr>
        <p:spPr>
          <a:xfrm>
            <a:off x="7149469" y="3540421"/>
            <a:ext cx="1661551" cy="986196"/>
          </a:xfrm>
          <a:prstGeom prst="bentConnector3">
            <a:avLst>
              <a:gd name="adj1" fmla="val -6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903B7F81-0E35-4628-A28D-FBDE1F40F66C}"/>
              </a:ext>
            </a:extLst>
          </p:cNvPr>
          <p:cNvSpPr/>
          <p:nvPr/>
        </p:nvSpPr>
        <p:spPr bwMode="auto">
          <a:xfrm>
            <a:off x="10420291" y="1770094"/>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Tree>
    <p:extLst>
      <p:ext uri="{BB962C8B-B14F-4D97-AF65-F5344CB8AC3E}">
        <p14:creationId xmlns:p14="http://schemas.microsoft.com/office/powerpoint/2010/main" val="41047431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Agenda</a:t>
            </a:r>
          </a:p>
        </p:txBody>
      </p:sp>
      <p:sp>
        <p:nvSpPr>
          <p:cNvPr id="3" name="Content Placeholder 2"/>
          <p:cNvSpPr>
            <a:spLocks noGrp="1"/>
          </p:cNvSpPr>
          <p:nvPr>
            <p:ph sz="quarter" idx="10"/>
          </p:nvPr>
        </p:nvSpPr>
        <p:spPr>
          <a:xfrm>
            <a:off x="603251" y="1423836"/>
            <a:ext cx="10989733" cy="2545263"/>
          </a:xfrm>
        </p:spPr>
        <p:txBody>
          <a:bodyPr>
            <a:normAutofit/>
          </a:bodyPr>
          <a:lstStyle/>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nalysis Services</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a:t>
            </a:r>
            <a:r>
              <a:rPr lang="en-US" sz="1800" dirty="0" err="1">
                <a:solidFill>
                  <a:srgbClr val="353535"/>
                </a:solidFill>
                <a:latin typeface="Segoe UI Light" panose="020B0502040204020203" pitchFamily="34" charset="0"/>
                <a:cs typeface="Segoe UI Light" panose="020B0502040204020203" pitchFamily="34" charset="0"/>
              </a:rPr>
              <a:t>Databricks</a:t>
            </a:r>
            <a:endParaRPr lang="en-US" sz="1800" dirty="0">
              <a:solidFill>
                <a:srgbClr val="353535"/>
              </a:solidFill>
              <a:latin typeface="Segoe UI Light" panose="020B0502040204020203" pitchFamily="34" charset="0"/>
              <a:cs typeface="Segoe UI Light" panose="020B0502040204020203" pitchFamily="34" charset="0"/>
            </a:endParaRP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Cosmos DB</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SQL Database Managed Instance</a:t>
            </a:r>
          </a:p>
          <a:p>
            <a:pPr marL="285750" indent="-285750" fontAlgn="ctr">
              <a:buFont typeface="Wingdings" panose="05000000000000000000" pitchFamily="2" charset="2"/>
              <a:buChar char="§"/>
            </a:pPr>
            <a:r>
              <a:rPr lang="en-US" sz="1800" dirty="0">
                <a:solidFill>
                  <a:srgbClr val="353535"/>
                </a:solidFill>
                <a:latin typeface="Segoe UI Light" panose="020B0502040204020203" pitchFamily="34" charset="0"/>
                <a:cs typeface="Segoe UI Light" panose="020B0502040204020203" pitchFamily="34" charset="0"/>
              </a:rPr>
              <a:t>Azure Data Factory v2</a:t>
            </a:r>
          </a:p>
          <a:p>
            <a:pPr marL="285750" indent="-285750" fontAlgn="ctr">
              <a:buFont typeface="Wingdings" panose="05000000000000000000" pitchFamily="2" charset="2"/>
              <a:buChar char="§"/>
            </a:pPr>
            <a:endParaRPr lang="en-US" sz="1800"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3822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p:txBody>
          <a:bodyPr/>
          <a:lstStyle/>
          <a:p>
            <a:r>
              <a:rPr lang="en-US" dirty="0"/>
              <a:t>Real-time analytics on Big Data</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181108" y="3139171"/>
            <a:ext cx="1475072"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 data</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a:off x="3452421" y="2862489"/>
            <a:ext cx="3291114"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674765" y="4971546"/>
            <a:ext cx="10763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3982062" y="5255577"/>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5374648" y="4971546"/>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077379" y="5217756"/>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546049" y="3154051"/>
            <a:ext cx="1254716"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HDInsight (Kafka)</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579588" y="2852734"/>
            <a:ext cx="3650498" cy="1788015"/>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479815" y="3154051"/>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186" name="Group 185">
            <a:extLst>
              <a:ext uri="{FF2B5EF4-FFF2-40B4-BE49-F238E27FC236}">
                <a16:creationId xmlns:a16="http://schemas.microsoft.com/office/drawing/2014/main" id="{0BB6CEC0-A098-427D-843C-6473E9BDCCEB}"/>
              </a:ext>
            </a:extLst>
          </p:cNvPr>
          <p:cNvGrpSpPr/>
          <p:nvPr/>
        </p:nvGrpSpPr>
        <p:grpSpPr>
          <a:xfrm>
            <a:off x="4252717" y="4600789"/>
            <a:ext cx="608065" cy="54223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8734056" y="4417491"/>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4936504" y="4956986"/>
            <a:ext cx="347853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26" name="Shape 101">
            <a:extLst>
              <a:ext uri="{FF2B5EF4-FFF2-40B4-BE49-F238E27FC236}">
                <a16:creationId xmlns:a16="http://schemas.microsoft.com/office/drawing/2014/main" id="{7B4DF503-F480-496E-A733-DD9FAD666D7B}"/>
              </a:ext>
            </a:extLst>
          </p:cNvPr>
          <p:cNvSpPr txBox="1"/>
          <p:nvPr/>
        </p:nvSpPr>
        <p:spPr>
          <a:xfrm>
            <a:off x="10488047" y="534471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95398" y="4640749"/>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896477" y="2653503"/>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AA536B0C-838D-4F81-8308-144C9388A3B1}"/>
              </a:ext>
            </a:extLst>
          </p:cNvPr>
          <p:cNvGrpSpPr/>
          <p:nvPr/>
        </p:nvGrpSpPr>
        <p:grpSpPr>
          <a:xfrm>
            <a:off x="3019828" y="2583077"/>
            <a:ext cx="334156" cy="567664"/>
            <a:chOff x="10668000" y="1393825"/>
            <a:chExt cx="527050" cy="895350"/>
          </a:xfrm>
        </p:grpSpPr>
        <p:sp>
          <p:nvSpPr>
            <p:cNvPr id="97" name="Oval 96">
              <a:extLst>
                <a:ext uri="{FF2B5EF4-FFF2-40B4-BE49-F238E27FC236}">
                  <a16:creationId xmlns:a16="http://schemas.microsoft.com/office/drawing/2014/main" id="{4A45EA6D-8ACB-40FE-AA24-DC36B2E010DD}"/>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561E4854-49B4-4332-AA8F-12927DBAFD4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05AE392D-CBB4-47A3-BC04-B4E935C61D65}"/>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712B7532-754F-44FF-B55F-13300ABA8F30}"/>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90AF3B1C-AD6E-46F3-AEC8-C7BE164A65DE}"/>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48CB9863-A91F-4052-AB07-B3499BAF5737}"/>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D74191A-6032-4A2F-AD3A-E7F4CB530FF2}"/>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2D16606-B7DB-4163-AF8E-D877A49CEDAD}"/>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ECF7EF-C5BF-4AA4-BE49-CEED4A48FEA5}"/>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 name="Connector: Elbow 11">
            <a:extLst>
              <a:ext uri="{FF2B5EF4-FFF2-40B4-BE49-F238E27FC236}">
                <a16:creationId xmlns:a16="http://schemas.microsoft.com/office/drawing/2014/main" id="{0B6D4FFC-53BC-4C83-A078-AB7AA1B33ED7}"/>
              </a:ext>
            </a:extLst>
          </p:cNvPr>
          <p:cNvCxnSpPr>
            <a:cxnSpLocks/>
          </p:cNvCxnSpPr>
          <p:nvPr/>
        </p:nvCxnSpPr>
        <p:spPr>
          <a:xfrm flipV="1">
            <a:off x="4920204" y="3022659"/>
            <a:ext cx="1823331" cy="1780685"/>
          </a:xfrm>
          <a:prstGeom prst="bentConnector3">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0BE6D00-2D29-46F1-8156-86179B13CFC9}"/>
              </a:ext>
            </a:extLst>
          </p:cNvPr>
          <p:cNvGrpSpPr/>
          <p:nvPr/>
        </p:nvGrpSpPr>
        <p:grpSpPr>
          <a:xfrm>
            <a:off x="325409" y="2568198"/>
            <a:ext cx="1186471" cy="442722"/>
            <a:chOff x="887161" y="2379412"/>
            <a:chExt cx="1005759" cy="375291"/>
          </a:xfrm>
        </p:grpSpPr>
        <p:grpSp>
          <p:nvGrpSpPr>
            <p:cNvPr id="232" name="Group 231">
              <a:extLst>
                <a:ext uri="{FF2B5EF4-FFF2-40B4-BE49-F238E27FC236}">
                  <a16:creationId xmlns:a16="http://schemas.microsoft.com/office/drawing/2014/main" id="{09EECB5D-474F-4A1E-8B32-77D1B6AF91AC}"/>
                </a:ext>
              </a:extLst>
            </p:cNvPr>
            <p:cNvGrpSpPr/>
            <p:nvPr/>
          </p:nvGrpSpPr>
          <p:grpSpPr>
            <a:xfrm>
              <a:off x="887161" y="2493977"/>
              <a:ext cx="263350" cy="260726"/>
              <a:chOff x="5439748" y="810062"/>
              <a:chExt cx="3414577" cy="3380554"/>
            </a:xfrm>
          </p:grpSpPr>
          <p:sp>
            <p:nvSpPr>
              <p:cNvPr id="233" name="Rectangle 232">
                <a:extLst>
                  <a:ext uri="{FF2B5EF4-FFF2-40B4-BE49-F238E27FC236}">
                    <a16:creationId xmlns:a16="http://schemas.microsoft.com/office/drawing/2014/main" id="{4E9C608E-39F7-4A70-8D38-9EFF5CA56891}"/>
                  </a:ext>
                </a:extLst>
              </p:cNvPr>
              <p:cNvSpPr/>
              <p:nvPr/>
            </p:nvSpPr>
            <p:spPr bwMode="auto">
              <a:xfrm>
                <a:off x="5439749" y="810066"/>
                <a:ext cx="3414576" cy="3380548"/>
              </a:xfrm>
              <a:prstGeom prst="rect">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cxnSp>
            <p:nvCxnSpPr>
              <p:cNvPr id="234" name="Connector: Elbow 602">
                <a:extLst>
                  <a:ext uri="{FF2B5EF4-FFF2-40B4-BE49-F238E27FC236}">
                    <a16:creationId xmlns:a16="http://schemas.microsoft.com/office/drawing/2014/main" id="{E2BDFFFA-77FE-4199-BD7F-56FD0957C7E6}"/>
                  </a:ext>
                </a:extLst>
              </p:cNvPr>
              <p:cNvCxnSpPr>
                <a:cxnSpLocks/>
              </p:cNvCxnSpPr>
              <p:nvPr/>
            </p:nvCxnSpPr>
            <p:spPr>
              <a:xfrm rot="16200000" flipH="1">
                <a:off x="5052795" y="2336624"/>
                <a:ext cx="2240945" cy="1467039"/>
              </a:xfrm>
              <a:prstGeom prst="bentConnector3">
                <a:avLst>
                  <a:gd name="adj1" fmla="val -97"/>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Connector: Elbow 603">
                <a:extLst>
                  <a:ext uri="{FF2B5EF4-FFF2-40B4-BE49-F238E27FC236}">
                    <a16:creationId xmlns:a16="http://schemas.microsoft.com/office/drawing/2014/main" id="{434C0AA6-5991-447C-A855-F2E534D8BA6A}"/>
                  </a:ext>
                </a:extLst>
              </p:cNvPr>
              <p:cNvCxnSpPr>
                <a:cxnSpLocks/>
              </p:cNvCxnSpPr>
              <p:nvPr/>
            </p:nvCxnSpPr>
            <p:spPr>
              <a:xfrm>
                <a:off x="6149878" y="2721162"/>
                <a:ext cx="263642" cy="1469451"/>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6" name="Connector: Elbow 604">
                <a:extLst>
                  <a:ext uri="{FF2B5EF4-FFF2-40B4-BE49-F238E27FC236}">
                    <a16:creationId xmlns:a16="http://schemas.microsoft.com/office/drawing/2014/main" id="{EC5B474B-5BEB-4F3B-965C-A86344127E18}"/>
                  </a:ext>
                </a:extLst>
              </p:cNvPr>
              <p:cNvCxnSpPr>
                <a:cxnSpLocks/>
              </p:cNvCxnSpPr>
              <p:nvPr/>
            </p:nvCxnSpPr>
            <p:spPr>
              <a:xfrm>
                <a:off x="6634344" y="1280527"/>
                <a:ext cx="718930" cy="291008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7" name="Connector: Elbow 605">
                <a:extLst>
                  <a:ext uri="{FF2B5EF4-FFF2-40B4-BE49-F238E27FC236}">
                    <a16:creationId xmlns:a16="http://schemas.microsoft.com/office/drawing/2014/main" id="{EB44C59B-5B9C-4D86-80F0-A71476AD003A}"/>
                  </a:ext>
                </a:extLst>
              </p:cNvPr>
              <p:cNvCxnSpPr>
                <a:cxnSpLocks/>
              </p:cNvCxnSpPr>
              <p:nvPr/>
            </p:nvCxnSpPr>
            <p:spPr>
              <a:xfrm rot="16200000" flipH="1">
                <a:off x="7309507" y="1381112"/>
                <a:ext cx="1419382" cy="277282"/>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8" name="Connector: Elbow 606">
                <a:extLst>
                  <a:ext uri="{FF2B5EF4-FFF2-40B4-BE49-F238E27FC236}">
                    <a16:creationId xmlns:a16="http://schemas.microsoft.com/office/drawing/2014/main" id="{3C37D923-872D-48E8-8A39-CE6217B578C0}"/>
                  </a:ext>
                </a:extLst>
              </p:cNvPr>
              <p:cNvCxnSpPr>
                <a:cxnSpLocks/>
              </p:cNvCxnSpPr>
              <p:nvPr/>
            </p:nvCxnSpPr>
            <p:spPr>
              <a:xfrm rot="10800000" flipV="1">
                <a:off x="7880561" y="2962587"/>
                <a:ext cx="277279" cy="122802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F4A19703-61D3-4100-B21A-A5CC5EB11E64}"/>
                  </a:ext>
                </a:extLst>
              </p:cNvPr>
              <p:cNvSpPr/>
              <p:nvPr/>
            </p:nvSpPr>
            <p:spPr bwMode="auto">
              <a:xfrm>
                <a:off x="6192695" y="105970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0" name="Oval 239">
                <a:extLst>
                  <a:ext uri="{FF2B5EF4-FFF2-40B4-BE49-F238E27FC236}">
                    <a16:creationId xmlns:a16="http://schemas.microsoft.com/office/drawing/2014/main" id="{A6B78D66-1BC3-459D-8B71-2858466E9C5F}"/>
                  </a:ext>
                </a:extLst>
              </p:cNvPr>
              <p:cNvSpPr/>
              <p:nvPr/>
            </p:nvSpPr>
            <p:spPr bwMode="auto">
              <a:xfrm>
                <a:off x="5708229" y="2500337"/>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8" name="Oval 247">
                <a:extLst>
                  <a:ext uri="{FF2B5EF4-FFF2-40B4-BE49-F238E27FC236}">
                    <a16:creationId xmlns:a16="http://schemas.microsoft.com/office/drawing/2014/main" id="{41BC7F01-9636-4479-815B-704252D72D69}"/>
                  </a:ext>
                </a:extLst>
              </p:cNvPr>
              <p:cNvSpPr/>
              <p:nvPr/>
            </p:nvSpPr>
            <p:spPr bwMode="auto">
              <a:xfrm>
                <a:off x="8157839" y="2008619"/>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9" name="Oval 248">
                <a:extLst>
                  <a:ext uri="{FF2B5EF4-FFF2-40B4-BE49-F238E27FC236}">
                    <a16:creationId xmlns:a16="http://schemas.microsoft.com/office/drawing/2014/main" id="{F3BF1DC5-E0AB-4C22-8E6C-2D1C5BBF7346}"/>
                  </a:ext>
                </a:extLst>
              </p:cNvPr>
              <p:cNvSpPr/>
              <p:nvPr/>
            </p:nvSpPr>
            <p:spPr bwMode="auto">
              <a:xfrm>
                <a:off x="8157839" y="274176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grpSp>
        <p:sp>
          <p:nvSpPr>
            <p:cNvPr id="250" name="Freeform 9">
              <a:extLst>
                <a:ext uri="{FF2B5EF4-FFF2-40B4-BE49-F238E27FC236}">
                  <a16:creationId xmlns:a16="http://schemas.microsoft.com/office/drawing/2014/main" id="{A7CAAD0E-3976-4993-AE66-CE2C677B242B}"/>
                </a:ext>
              </a:extLst>
            </p:cNvPr>
            <p:cNvSpPr>
              <a:spLocks noEditPoints="1"/>
            </p:cNvSpPr>
            <p:nvPr/>
          </p:nvSpPr>
          <p:spPr bwMode="auto">
            <a:xfrm>
              <a:off x="1211572" y="2379412"/>
              <a:ext cx="467331" cy="373966"/>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5">
              <a:extLst>
                <a:ext uri="{FF2B5EF4-FFF2-40B4-BE49-F238E27FC236}">
                  <a16:creationId xmlns:a16="http://schemas.microsoft.com/office/drawing/2014/main" id="{46050FB7-2716-4C44-AF7F-AC2E97CE5DD9}"/>
                </a:ext>
              </a:extLst>
            </p:cNvPr>
            <p:cNvSpPr>
              <a:spLocks noEditPoints="1"/>
            </p:cNvSpPr>
            <p:nvPr/>
          </p:nvSpPr>
          <p:spPr bwMode="auto">
            <a:xfrm>
              <a:off x="1746943" y="2510596"/>
              <a:ext cx="145977" cy="24278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cxnSp>
        <p:nvCxnSpPr>
          <p:cNvPr id="253" name="Straight Arrow Connector 252">
            <a:extLst>
              <a:ext uri="{FF2B5EF4-FFF2-40B4-BE49-F238E27FC236}">
                <a16:creationId xmlns:a16="http://schemas.microsoft.com/office/drawing/2014/main" id="{FA3D49AA-1309-49C8-904F-41F035D17C36}"/>
              </a:ext>
            </a:extLst>
          </p:cNvPr>
          <p:cNvCxnSpPr>
            <a:cxnSpLocks/>
          </p:cNvCxnSpPr>
          <p:nvPr/>
        </p:nvCxnSpPr>
        <p:spPr>
          <a:xfrm>
            <a:off x="2119496" y="2862489"/>
            <a:ext cx="77671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D259988-8CF1-4F8F-A381-7F0D26D376C9}"/>
              </a:ext>
            </a:extLst>
          </p:cNvPr>
          <p:cNvSpPr/>
          <p:nvPr/>
        </p:nvSpPr>
        <p:spPr bwMode="auto">
          <a:xfrm>
            <a:off x="1921506" y="1583331"/>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F14F2D1-1347-4D16-9E62-7538C78EED52}"/>
              </a:ext>
            </a:extLst>
          </p:cNvPr>
          <p:cNvSpPr/>
          <p:nvPr/>
        </p:nvSpPr>
        <p:spPr bwMode="auto">
          <a:xfrm>
            <a:off x="8241868" y="1826920"/>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76" name="Rectangle 75">
            <a:extLst>
              <a:ext uri="{FF2B5EF4-FFF2-40B4-BE49-F238E27FC236}">
                <a16:creationId xmlns:a16="http://schemas.microsoft.com/office/drawing/2014/main" id="{F08449EF-E4A0-4446-B3DC-46D39BE6657E}"/>
              </a:ext>
            </a:extLst>
          </p:cNvPr>
          <p:cNvSpPr/>
          <p:nvPr/>
        </p:nvSpPr>
        <p:spPr bwMode="auto">
          <a:xfrm>
            <a:off x="6434923" y="1808803"/>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77" name="Rectangle 76">
            <a:extLst>
              <a:ext uri="{FF2B5EF4-FFF2-40B4-BE49-F238E27FC236}">
                <a16:creationId xmlns:a16="http://schemas.microsoft.com/office/drawing/2014/main" id="{B176C94E-EFBD-4911-88DE-67BFB51663A6}"/>
              </a:ext>
            </a:extLst>
          </p:cNvPr>
          <p:cNvSpPr/>
          <p:nvPr/>
        </p:nvSpPr>
        <p:spPr bwMode="auto">
          <a:xfrm>
            <a:off x="3911546" y="1814555"/>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78" name="Rectangle 77">
            <a:extLst>
              <a:ext uri="{FF2B5EF4-FFF2-40B4-BE49-F238E27FC236}">
                <a16:creationId xmlns:a16="http://schemas.microsoft.com/office/drawing/2014/main" id="{607D8584-59F9-4FA6-8B3D-9329A1727FD2}"/>
              </a:ext>
            </a:extLst>
          </p:cNvPr>
          <p:cNvSpPr/>
          <p:nvPr/>
        </p:nvSpPr>
        <p:spPr bwMode="auto">
          <a:xfrm>
            <a:off x="2423675" y="1808804"/>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79" name="Rectangle 78">
            <a:extLst>
              <a:ext uri="{FF2B5EF4-FFF2-40B4-BE49-F238E27FC236}">
                <a16:creationId xmlns:a16="http://schemas.microsoft.com/office/drawing/2014/main" id="{C2361FC6-92E8-4D85-81EE-81EC79D44317}"/>
              </a:ext>
            </a:extLst>
          </p:cNvPr>
          <p:cNvSpPr/>
          <p:nvPr/>
        </p:nvSpPr>
        <p:spPr bwMode="auto">
          <a:xfrm>
            <a:off x="10381294" y="1824793"/>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cxnSp>
        <p:nvCxnSpPr>
          <p:cNvPr id="87" name="Connector: Elbow 86">
            <a:extLst>
              <a:ext uri="{FF2B5EF4-FFF2-40B4-BE49-F238E27FC236}">
                <a16:creationId xmlns:a16="http://schemas.microsoft.com/office/drawing/2014/main" id="{1D68754E-F027-4095-A74A-D50C5902ADE3}"/>
              </a:ext>
            </a:extLst>
          </p:cNvPr>
          <p:cNvCxnSpPr>
            <a:cxnSpLocks/>
          </p:cNvCxnSpPr>
          <p:nvPr/>
        </p:nvCxnSpPr>
        <p:spPr>
          <a:xfrm>
            <a:off x="7209595" y="3680298"/>
            <a:ext cx="1205448" cy="981957"/>
          </a:xfrm>
          <a:prstGeom prst="bentConnector3">
            <a:avLst>
              <a:gd name="adj1" fmla="val 8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7529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A0AAD1-2B0F-49EB-BA68-EB2A291B674C}"/>
              </a:ext>
            </a:extLst>
          </p:cNvPr>
          <p:cNvSpPr/>
          <p:nvPr/>
        </p:nvSpPr>
        <p:spPr>
          <a:xfrm>
            <a:off x="176073" y="1798761"/>
            <a:ext cx="3789331" cy="3960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Hortonworks’ Distribution) as a managed service supporting a variety of open-source analytics engines such as Apache Spark, Hive LLAP, Storm, Kafka, HBase.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Ranger (Kerberos based)</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compete with AWS EMR. Standard offering.</a:t>
            </a:r>
            <a:r>
              <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by working with different OSS analytics engines to address big data use cases. Cost sensitive.</a:t>
            </a: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consumption</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7" name="Title 1">
            <a:extLst>
              <a:ext uri="{FF2B5EF4-FFF2-40B4-BE49-F238E27FC236}">
                <a16:creationId xmlns:a16="http://schemas.microsoft.com/office/drawing/2014/main" id="{1E9D314D-08B6-4C6D-BB23-426A3348E506}"/>
              </a:ext>
            </a:extLst>
          </p:cNvPr>
          <p:cNvSpPr>
            <a:spLocks noGrp="1"/>
          </p:cNvSpPr>
          <p:nvPr>
            <p:ph type="title"/>
          </p:nvPr>
        </p:nvSpPr>
        <p:spPr>
          <a:xfrm>
            <a:off x="176073" y="0"/>
            <a:ext cx="10515600" cy="883812"/>
          </a:xfrm>
        </p:spPr>
        <p:txBody>
          <a:bodyPr>
            <a:normAutofit/>
          </a:bodyPr>
          <a:lstStyle/>
          <a:p>
            <a:r>
              <a:rPr lang="en-US" sz="3200" dirty="0">
                <a:solidFill>
                  <a:schemeClr val="tx1">
                    <a:lumMod val="65000"/>
                    <a:lumOff val="35000"/>
                  </a:schemeClr>
                </a:solidFill>
                <a:latin typeface="Segoe UI" panose="020B0502040204020203" pitchFamily="34" charset="0"/>
                <a:cs typeface="Segoe UI" panose="020B0502040204020203" pitchFamily="34" charset="0"/>
              </a:rPr>
              <a:t>Big Data OSS - Sales Guidance</a:t>
            </a:r>
          </a:p>
        </p:txBody>
      </p:sp>
      <p:sp>
        <p:nvSpPr>
          <p:cNvPr id="2" name="Rectangle 1">
            <a:extLst>
              <a:ext uri="{FF2B5EF4-FFF2-40B4-BE49-F238E27FC236}">
                <a16:creationId xmlns:a16="http://schemas.microsoft.com/office/drawing/2014/main" id="{D0125815-6EF3-49B6-B64F-16C63C3FD383}"/>
              </a:ext>
            </a:extLst>
          </p:cNvPr>
          <p:cNvSpPr/>
          <p:nvPr/>
        </p:nvSpPr>
        <p:spPr>
          <a:xfrm>
            <a:off x="176073" y="1449939"/>
            <a:ext cx="3789328"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HDInsigh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 </a:t>
            </a:r>
          </a:p>
        </p:txBody>
      </p:sp>
      <p:sp>
        <p:nvSpPr>
          <p:cNvPr id="10" name="Rectangle 9">
            <a:extLst>
              <a:ext uri="{FF2B5EF4-FFF2-40B4-BE49-F238E27FC236}">
                <a16:creationId xmlns:a16="http://schemas.microsoft.com/office/drawing/2014/main" id="{425210D8-F7A7-4A6D-AC93-4369AC77C105}"/>
              </a:ext>
            </a:extLst>
          </p:cNvPr>
          <p:cNvSpPr/>
          <p:nvPr/>
        </p:nvSpPr>
        <p:spPr>
          <a:xfrm>
            <a:off x="4146778" y="1809910"/>
            <a:ext cx="4021886" cy="39490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park</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the most popular open-source analytics engine, as a managed service providing an easy and fast way to unlock big data use cases. Offers best-in-class notebooks experience for productivity and collaboration as well integration with Azure Data Warehouse, Power BI,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tc</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native Azure AD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match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on AWS. Premium offering.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and values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ease of use, productivity &amp; collaboration featu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Data Services &amp; Azure consumption</a:t>
            </a:r>
          </a:p>
        </p:txBody>
      </p:sp>
      <p:sp>
        <p:nvSpPr>
          <p:cNvPr id="11" name="Rectangle 10">
            <a:extLst>
              <a:ext uri="{FF2B5EF4-FFF2-40B4-BE49-F238E27FC236}">
                <a16:creationId xmlns:a16="http://schemas.microsoft.com/office/drawing/2014/main" id="{F5662376-48DD-4842-A0B7-A50BC54C57CB}"/>
              </a:ext>
            </a:extLst>
          </p:cNvPr>
          <p:cNvSpPr/>
          <p:nvPr/>
        </p:nvSpPr>
        <p:spPr>
          <a:xfrm>
            <a:off x="4146778" y="1443670"/>
            <a:ext cx="4021884"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Databricks</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a:t>
            </a:r>
          </a:p>
        </p:txBody>
      </p:sp>
      <p:sp>
        <p:nvSpPr>
          <p:cNvPr id="14" name="Rectangle 13">
            <a:extLst>
              <a:ext uri="{FF2B5EF4-FFF2-40B4-BE49-F238E27FC236}">
                <a16:creationId xmlns:a16="http://schemas.microsoft.com/office/drawing/2014/main" id="{AE997543-08DE-4F33-96C4-CF067E2955E8}"/>
              </a:ext>
            </a:extLst>
          </p:cNvPr>
          <p:cNvSpPr/>
          <p:nvPr/>
        </p:nvSpPr>
        <p:spPr>
          <a:xfrm>
            <a:off x="8350036" y="1787612"/>
            <a:ext cx="3446116" cy="3971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 distributions from Cloudera,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pR</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mp; Hortonworks available on Azure Marketplace as IaaS VM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0" marR="0" lvl="0" indent="-22383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N/A. Vendor prices their products. </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 When</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wants to move their on premises Hadoop distribution to Azure IaaS using their existing licenses.</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Seller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tires Azure consum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28C2D3D6-8E46-4B9A-8701-25A29B79649C}"/>
              </a:ext>
            </a:extLst>
          </p:cNvPr>
          <p:cNvSpPr/>
          <p:nvPr/>
        </p:nvSpPr>
        <p:spPr>
          <a:xfrm>
            <a:off x="8350039" y="1443670"/>
            <a:ext cx="3446113"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3</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rd</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Offerings</a:t>
            </a:r>
          </a:p>
        </p:txBody>
      </p:sp>
    </p:spTree>
    <p:extLst>
      <p:ext uri="{BB962C8B-B14F-4D97-AF65-F5344CB8AC3E}">
        <p14:creationId xmlns:p14="http://schemas.microsoft.com/office/powerpoint/2010/main" val="158675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Databricks</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Databricks’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Databricks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Cosmos DB</a:t>
            </a:r>
          </a:p>
        </p:txBody>
      </p:sp>
    </p:spTree>
    <p:extLst>
      <p:ext uri="{BB962C8B-B14F-4D97-AF65-F5344CB8AC3E}">
        <p14:creationId xmlns:p14="http://schemas.microsoft.com/office/powerpoint/2010/main" val="40065811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53535"/>
                </a:solidFill>
                <a:latin typeface="Segoe UI Light" panose="020B0502040204020203" pitchFamily="34" charset="0"/>
                <a:cs typeface="Segoe UI Light" panose="020B0502040204020203" pitchFamily="34" charset="0"/>
              </a:rPr>
              <a:t>Relational Databases vs Non-Relational Databases (NoSQL) vs Hadoop</a:t>
            </a:r>
          </a:p>
        </p:txBody>
      </p:sp>
      <p:sp>
        <p:nvSpPr>
          <p:cNvPr id="3" name="TextBox 2"/>
          <p:cNvSpPr txBox="1"/>
          <p:nvPr/>
        </p:nvSpPr>
        <p:spPr>
          <a:xfrm>
            <a:off x="472965" y="1534510"/>
            <a:ext cx="11361683" cy="286232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RDBMS (</a:t>
            </a:r>
            <a:r>
              <a:rPr kumimoji="0" lang="en-US" sz="20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SQL Server) for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enterprise OLTP and ACID compliance, or </a:t>
            </a:r>
            <a:r>
              <a:rPr kumimoji="0" lang="en-US" sz="2000" b="0" i="0" u="none" strike="noStrike" kern="0" cap="none" spc="0" normalizeH="0" baseline="0" noProof="0" dirty="0" err="1">
                <a:ln>
                  <a:noFill/>
                </a:ln>
                <a:solidFill>
                  <a:srgbClr val="353535"/>
                </a:solidFill>
                <a:effectLst/>
                <a:uLnTx/>
                <a:uFillTx/>
                <a:latin typeface="Segoe UI Light" panose="020B0502040204020203" pitchFamily="34" charset="0"/>
                <a:ea typeface="+mn-ea"/>
                <a:cs typeface="Segoe UI Light" panose="020B0502040204020203" pitchFamily="34" charset="0"/>
              </a:rPr>
              <a:t>db’s</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under 5TB</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NoSQL (Cosmos </a:t>
            </a:r>
            <a:r>
              <a:rPr lang="en-US" sz="2000" kern="0" dirty="0">
                <a:solidFill>
                  <a:srgbClr val="353535"/>
                </a:solidFill>
                <a:latin typeface="Segoe UI Light" panose="020B0502040204020203" pitchFamily="34" charset="0"/>
                <a:cs typeface="Segoe UI Light" panose="020B0502040204020203" pitchFamily="34" charset="0"/>
              </a:rPr>
              <a:t>DB) </a:t>
            </a: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or scaled OLTP and JSON document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Hadoop for big data analytics (OLAP) or Data Lak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from my presentation “Relational Databases vs Non-Relational 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53535"/>
              </a:solidFill>
              <a:effectLst/>
              <a:uLnTx/>
              <a:uFillTx/>
              <a:latin typeface="Segoe UI"/>
              <a:ea typeface="+mn-ea"/>
              <a:cs typeface="+mn-cs"/>
            </a:endParaRPr>
          </a:p>
        </p:txBody>
      </p:sp>
    </p:spTree>
    <p:extLst>
      <p:ext uri="{BB962C8B-B14F-4D97-AF65-F5344CB8AC3E}">
        <p14:creationId xmlns:p14="http://schemas.microsoft.com/office/powerpoint/2010/main" val="3605919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0" y="-7233"/>
            <a:ext cx="12192000" cy="6865233"/>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pic>
        <p:nvPicPr>
          <p:cNvPr id="4" name="Picture 3"/>
          <p:cNvPicPr>
            <a:picLocks noChangeAspect="1"/>
          </p:cNvPicPr>
          <p:nvPr/>
        </p:nvPicPr>
        <p:blipFill rotWithShape="1">
          <a:blip r:embed="rId3"/>
          <a:srcRect r="8487"/>
          <a:stretch/>
        </p:blipFill>
        <p:spPr>
          <a:xfrm flipH="1">
            <a:off x="-1" y="669773"/>
            <a:ext cx="12192000" cy="6195462"/>
          </a:xfrm>
          <a:prstGeom prst="rect">
            <a:avLst/>
          </a:prstGeom>
        </p:spPr>
      </p:pic>
      <p:sp>
        <p:nvSpPr>
          <p:cNvPr id="48" name="Rectangle 47"/>
          <p:cNvSpPr/>
          <p:nvPr/>
        </p:nvSpPr>
        <p:spPr>
          <a:xfrm>
            <a:off x="0" y="-14469"/>
            <a:ext cx="12192000" cy="6879703"/>
          </a:xfrm>
          <a:prstGeom prst="rect">
            <a:avLst/>
          </a:prstGeom>
          <a:solidFill>
            <a:schemeClr val="tx1">
              <a:alpha val="56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2" name="Title 1"/>
          <p:cNvSpPr>
            <a:spLocks noGrp="1"/>
          </p:cNvSpPr>
          <p:nvPr>
            <p:ph type="title"/>
          </p:nvPr>
        </p:nvSpPr>
        <p:spPr/>
        <p:txBody>
          <a:bodyPr/>
          <a:lstStyle/>
          <a:p>
            <a:r>
              <a:rPr lang="en-US"/>
              <a:t>Domino’s Pizza delivers </a:t>
            </a:r>
            <a:br>
              <a:rPr lang="en-US"/>
            </a:br>
            <a:r>
              <a:rPr lang="en-US"/>
              <a:t>through globally-distributed apps </a:t>
            </a:r>
            <a:endParaRPr lang="en-US" dirty="0"/>
          </a:p>
        </p:txBody>
      </p:sp>
      <p:sp>
        <p:nvSpPr>
          <p:cNvPr id="13" name="Text Placeholder 12"/>
          <p:cNvSpPr>
            <a:spLocks noGrp="1"/>
          </p:cNvSpPr>
          <p:nvPr>
            <p:ph type="body" sz="quarter" idx="10"/>
          </p:nvPr>
        </p:nvSpPr>
        <p:spPr/>
        <p:txBody>
          <a:bodyPr>
            <a:normAutofit/>
          </a:bodyPr>
          <a:lstStyle/>
          <a:p>
            <a:r>
              <a:rPr lang="en-US" dirty="0"/>
              <a:t>Tech-centric consumers across continents demand instant access and uninterrupted service</a:t>
            </a:r>
          </a:p>
          <a:p>
            <a:pPr lvl="1"/>
            <a:r>
              <a:rPr lang="en-US" dirty="0"/>
              <a:t>99.99% uptime</a:t>
            </a:r>
          </a:p>
          <a:p>
            <a:pPr lvl="1"/>
            <a:r>
              <a:rPr lang="en-US" dirty="0"/>
              <a:t>Millisecond load latency</a:t>
            </a:r>
          </a:p>
          <a:p>
            <a:pPr lvl="1"/>
            <a:r>
              <a:rPr lang="en-US" dirty="0"/>
              <a:t>Globally distributed order-processing</a:t>
            </a:r>
          </a:p>
        </p:txBody>
      </p:sp>
      <p:sp>
        <p:nvSpPr>
          <p:cNvPr id="5" name="Content Placeholder 2"/>
          <p:cNvSpPr txBox="1">
            <a:spLocks/>
          </p:cNvSpPr>
          <p:nvPr/>
        </p:nvSpPr>
        <p:spPr>
          <a:xfrm>
            <a:off x="0" y="106102"/>
            <a:ext cx="4621161" cy="378125"/>
          </a:xfrm>
          <a:prstGeom prst="rect">
            <a:avLst/>
          </a:prstGeom>
          <a:solidFill>
            <a:schemeClr val="accent5"/>
          </a:solidFill>
        </p:spPr>
        <p:txBody>
          <a:bodyPr wrap="square" lIns="365760" rIns="13716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Globally-distributed mission-critical apps</a:t>
            </a:r>
          </a:p>
        </p:txBody>
      </p:sp>
      <p:sp>
        <p:nvSpPr>
          <p:cNvPr id="9" name="Rectangle 8"/>
          <p:cNvSpPr/>
          <p:nvPr/>
        </p:nvSpPr>
        <p:spPr>
          <a:xfrm>
            <a:off x="6253842" y="2546555"/>
            <a:ext cx="5938157" cy="4318679"/>
          </a:xfrm>
          <a:prstGeom prst="rect">
            <a:avLst/>
          </a:prstGeom>
          <a:solidFill>
            <a:srgbClr val="D7EDF7">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54812" y="163311"/>
            <a:ext cx="1076490" cy="1032588"/>
          </a:xfrm>
          <a:prstGeom prst="rect">
            <a:avLst/>
          </a:prstGeom>
        </p:spPr>
      </p:pic>
      <p:pic>
        <p:nvPicPr>
          <p:cNvPr id="26" name="Graphic 25"/>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6130" y="2952118"/>
            <a:ext cx="6710795" cy="3628159"/>
          </a:xfrm>
          <a:prstGeom prst="rect">
            <a:avLst/>
          </a:prstGeom>
        </p:spPr>
      </p:pic>
    </p:spTree>
    <p:extLst>
      <p:ext uri="{BB962C8B-B14F-4D97-AF65-F5344CB8AC3E}">
        <p14:creationId xmlns:p14="http://schemas.microsoft.com/office/powerpoint/2010/main" val="770225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Freeform: Shape 99"/>
          <p:cNvSpPr/>
          <p:nvPr/>
        </p:nvSpPr>
        <p:spPr>
          <a:xfrm>
            <a:off x="35631"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rgbClr val="0070C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TextBox 91">
            <a:extLst/>
          </p:cNvPr>
          <p:cNvSpPr txBox="1"/>
          <p:nvPr/>
        </p:nvSpPr>
        <p:spPr>
          <a:xfrm>
            <a:off x="2706509" y="985306"/>
            <a:ext cx="6778983" cy="338554"/>
          </a:xfrm>
          <a:prstGeom prst="rect">
            <a:avLst/>
          </a:prstGeom>
          <a:noFill/>
        </p:spPr>
        <p:txBody>
          <a:bodyPr wrap="square" lIns="9144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sp>
        <p:nvSpPr>
          <p:cNvPr id="925" name="Freeform: Shape 924"/>
          <p:cNvSpPr>
            <a:spLocks/>
          </p:cNvSpPr>
          <p:nvPr/>
        </p:nvSpPr>
        <p:spPr bwMode="auto">
          <a:xfrm>
            <a:off x="1281628" y="53640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8" name="Freeform: Shape 827"/>
          <p:cNvSpPr/>
          <p:nvPr/>
        </p:nvSpPr>
        <p:spPr>
          <a:xfrm>
            <a:off x="1297836" y="28915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0" name="Freeform: Shape 28"/>
          <p:cNvSpPr/>
          <p:nvPr/>
        </p:nvSpPr>
        <p:spPr>
          <a:xfrm>
            <a:off x="7748855" y="2314923"/>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39" name="Picture 838" descr="https://upload.wikimedia.org/wikipedia/en/thumb/5/54/Gremlin_%28programming_language%29.png/383px-Gremlin_%28programming_language%29.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305826" y="2119674"/>
            <a:ext cx="1560030" cy="606906"/>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0" y="3721436"/>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427909"/>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889" name="TextBox 888"/>
          <p:cNvSpPr txBox="1"/>
          <p:nvPr/>
        </p:nvSpPr>
        <p:spPr>
          <a:xfrm>
            <a:off x="4367177" y="3835039"/>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sp>
        <p:nvSpPr>
          <p:cNvPr id="890" name="TextBox 889"/>
          <p:cNvSpPr txBox="1"/>
          <p:nvPr/>
        </p:nvSpPr>
        <p:spPr>
          <a:xfrm>
            <a:off x="6832290" y="3910030"/>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sp>
        <p:nvSpPr>
          <p:cNvPr id="891" name="TextBox 890"/>
          <p:cNvSpPr txBox="1"/>
          <p:nvPr/>
        </p:nvSpPr>
        <p:spPr>
          <a:xfrm>
            <a:off x="8931096" y="4198326"/>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893" name="TextBox 892"/>
          <p:cNvSpPr txBox="1"/>
          <p:nvPr/>
        </p:nvSpPr>
        <p:spPr>
          <a:xfrm>
            <a:off x="819605" y="5281277"/>
            <a:ext cx="2021708"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Turnkey global distribution</a:t>
            </a:r>
          </a:p>
        </p:txBody>
      </p:sp>
      <p:sp>
        <p:nvSpPr>
          <p:cNvPr id="894" name="TextBox 893"/>
          <p:cNvSpPr txBox="1"/>
          <p:nvPr/>
        </p:nvSpPr>
        <p:spPr>
          <a:xfrm>
            <a:off x="2665536" y="4724320"/>
            <a:ext cx="1858201" cy="461665"/>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of storage &amp; throughput</a:t>
            </a:r>
          </a:p>
        </p:txBody>
      </p:sp>
      <p:sp>
        <p:nvSpPr>
          <p:cNvPr id="895" name="TextBox 894"/>
          <p:cNvSpPr txBox="1"/>
          <p:nvPr/>
        </p:nvSpPr>
        <p:spPr>
          <a:xfrm>
            <a:off x="4395441" y="4601933"/>
            <a:ext cx="3222357"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Guaranteed low latency at the 99</a:t>
            </a:r>
            <a:r>
              <a:rPr kumimoji="0" lang="en-US" sz="1200" b="0" i="0" u="none" strike="noStrike" kern="0" cap="none" spc="0" normalizeH="0" baseline="30000" noProof="0" dirty="0">
                <a:ln>
                  <a:noFill/>
                </a:ln>
                <a:solidFill>
                  <a:srgbClr val="002050"/>
                </a:solidFill>
                <a:effectLst/>
                <a:uLnTx/>
                <a:uFillTx/>
                <a:latin typeface="Segoe UI"/>
                <a:ea typeface="+mn-ea"/>
                <a:cs typeface="Segoe UI Light" panose="020B0502040204020203" pitchFamily="34" charset="0"/>
              </a:rPr>
              <a:t>th</a:t>
            </a: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 percentile</a:t>
            </a:r>
          </a:p>
        </p:txBody>
      </p:sp>
      <p:sp>
        <p:nvSpPr>
          <p:cNvPr id="896" name="TextBox 895"/>
          <p:cNvSpPr txBox="1"/>
          <p:nvPr/>
        </p:nvSpPr>
        <p:spPr>
          <a:xfrm>
            <a:off x="9784423" y="5281277"/>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Comprehensive SLAs</a:t>
            </a:r>
          </a:p>
        </p:txBody>
      </p:sp>
      <p:sp>
        <p:nvSpPr>
          <p:cNvPr id="897" name="TextBox 896"/>
          <p:cNvSpPr txBox="1"/>
          <p:nvPr/>
        </p:nvSpPr>
        <p:spPr>
          <a:xfrm>
            <a:off x="7239920" y="4853295"/>
            <a:ext cx="269176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50"/>
                </a:solidFill>
                <a:effectLst/>
                <a:uLnTx/>
                <a:uFillTx/>
                <a:latin typeface="Segoe UI"/>
                <a:ea typeface="+mn-ea"/>
                <a:cs typeface="Segoe UI Light" panose="020B0502040204020203" pitchFamily="34" charset="0"/>
              </a:rPr>
              <a:t>Five well-defined consistency models</a:t>
            </a:r>
          </a:p>
        </p:txBody>
      </p:sp>
      <p:grpSp>
        <p:nvGrpSpPr>
          <p:cNvPr id="905" name="Group 3"/>
          <p:cNvGrpSpPr/>
          <p:nvPr/>
        </p:nvGrpSpPr>
        <p:grpSpPr>
          <a:xfrm>
            <a:off x="2155722" y="5973361"/>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09" name="Graphic 90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094842"/>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4" name="Graphic 91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734258"/>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19" name="Graphic 918"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734258"/>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924" name="Graphic 923" descr="Marke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32415" y="2527090"/>
                <a:ext cx="1070585" cy="1070585"/>
              </a:xfrm>
              <a:prstGeom prst="rect">
                <a:avLst/>
              </a:prstGeom>
            </p:spPr>
          </p:pic>
        </p:grpSp>
      </p:grpSp>
      <p:sp>
        <p:nvSpPr>
          <p:cNvPr id="9" name="Freeform: Shape 8"/>
          <p:cNvSpPr/>
          <p:nvPr/>
        </p:nvSpPr>
        <p:spPr>
          <a:xfrm>
            <a:off x="-7257" y="4307407"/>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8" name="Freeform: Shape 927"/>
          <p:cNvSpPr/>
          <p:nvPr/>
        </p:nvSpPr>
        <p:spPr>
          <a:xfrm>
            <a:off x="-7257" y="3211055"/>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8534389" y="2457991"/>
            <a:ext cx="1112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ble API</a:t>
            </a:r>
          </a:p>
        </p:txBody>
      </p:sp>
      <p:grpSp>
        <p:nvGrpSpPr>
          <p:cNvPr id="93" name="Group 92"/>
          <p:cNvGrpSpPr/>
          <p:nvPr/>
        </p:nvGrpSpPr>
        <p:grpSpPr>
          <a:xfrm>
            <a:off x="4468630" y="36012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18" name="Group 117"/>
          <p:cNvGrpSpPr/>
          <p:nvPr/>
        </p:nvGrpSpPr>
        <p:grpSpPr>
          <a:xfrm>
            <a:off x="2522203" y="3690015"/>
            <a:ext cx="752577" cy="642887"/>
            <a:chOff x="4511512" y="6316301"/>
            <a:chExt cx="695062" cy="1336579"/>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20" name="TextBox 119"/>
            <p:cNvSpPr txBox="1"/>
            <p:nvPr/>
          </p:nvSpPr>
          <p:spPr>
            <a:xfrm>
              <a:off x="4511512" y="7398964"/>
              <a:ext cx="69506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6" name="Group 5">
            <a:extLst>
              <a:ext uri="{FF2B5EF4-FFF2-40B4-BE49-F238E27FC236}">
                <a16:creationId xmlns:a16="http://schemas.microsoft.com/office/drawing/2014/main" id="{69A42EE8-0F37-43B8-A4AD-F1441A75AA91}"/>
              </a:ext>
            </a:extLst>
          </p:cNvPr>
          <p:cNvGrpSpPr/>
          <p:nvPr/>
        </p:nvGrpSpPr>
        <p:grpSpPr>
          <a:xfrm>
            <a:off x="3489490" y="276283"/>
            <a:ext cx="5213021" cy="769441"/>
            <a:chOff x="3117779" y="276283"/>
            <a:chExt cx="5213021" cy="769441"/>
          </a:xfrm>
        </p:grpSpPr>
        <p:sp>
          <p:nvSpPr>
            <p:cNvPr id="85" name="TextBox 84">
              <a:extLst>
                <a:ext uri="{FF2B5EF4-FFF2-40B4-BE49-F238E27FC236}">
                  <a16:creationId xmlns:a16="http://schemas.microsoft.com/office/drawing/2014/main" id="{62151B90-8C0A-4BB7-80C7-D70A333A14BF}"/>
                </a:ext>
              </a:extLst>
            </p:cNvPr>
            <p:cNvSpPr txBox="1"/>
            <p:nvPr/>
          </p:nvSpPr>
          <p:spPr>
            <a:xfrm>
              <a:off x="3861201" y="276283"/>
              <a:ext cx="446959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Azure Cosmos DB</a:t>
              </a:r>
            </a:p>
          </p:txBody>
        </p:sp>
        <p:pic>
          <p:nvPicPr>
            <p:cNvPr id="86" name="Picture 85">
              <a:extLst>
                <a:ext uri="{FF2B5EF4-FFF2-40B4-BE49-F238E27FC236}">
                  <a16:creationId xmlns:a16="http://schemas.microsoft.com/office/drawing/2014/main" id="{099D2A2E-BE72-492A-9CE2-4EFB7B85CE72}"/>
                </a:ext>
              </a:extLst>
            </p:cNvPr>
            <p:cNvPicPr>
              <a:picLocks noChangeAspect="1"/>
            </p:cNvPicPr>
            <p:nvPr/>
          </p:nvPicPr>
          <p:blipFill>
            <a:blip r:embed="rId6"/>
            <a:stretch>
              <a:fillRect/>
            </a:stretch>
          </p:blipFill>
          <p:spPr>
            <a:xfrm>
              <a:off x="3117779" y="296732"/>
              <a:ext cx="728542" cy="728542"/>
            </a:xfrm>
            <a:prstGeom prst="rect">
              <a:avLst/>
            </a:prstGeom>
          </p:spPr>
        </p:pic>
      </p:grpSp>
      <p:pic>
        <p:nvPicPr>
          <p:cNvPr id="90" name="Picture 4">
            <a:extLst>
              <a:ext uri="{FF2B5EF4-FFF2-40B4-BE49-F238E27FC236}">
                <a16:creationId xmlns:a16="http://schemas.microsoft.com/office/drawing/2014/main" id="{DB5F3B65-4980-4271-9F0F-377C593E52F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2634" y="2782389"/>
            <a:ext cx="943496" cy="49533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228D089-D9C4-4B3F-A716-08B7A9B37978}"/>
              </a:ext>
            </a:extLst>
          </p:cNvPr>
          <p:cNvGrpSpPr/>
          <p:nvPr/>
        </p:nvGrpSpPr>
        <p:grpSpPr>
          <a:xfrm>
            <a:off x="2883512" y="2205202"/>
            <a:ext cx="1457501" cy="768430"/>
            <a:chOff x="2315858" y="2394364"/>
            <a:chExt cx="1457501" cy="768430"/>
          </a:xfrm>
        </p:grpSpPr>
        <p:pic>
          <p:nvPicPr>
            <p:cNvPr id="829" name="Picture 2" descr="https://c2.staticflickr.com/4/3701/19224697601_d03ecccf71_o.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945" r="13945"/>
            <a:stretch/>
          </p:blipFill>
          <p:spPr bwMode="auto">
            <a:xfrm>
              <a:off x="3219247" y="2394364"/>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a:extLst>
                <a:ext uri="{FF2B5EF4-FFF2-40B4-BE49-F238E27FC236}">
                  <a16:creationId xmlns:a16="http://schemas.microsoft.com/office/drawing/2014/main" id="{FABEAF97-50FC-40E5-93B2-A3E95E188E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15858" y="2471187"/>
              <a:ext cx="1185532" cy="622404"/>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A6B89208-A96E-4A35-BE63-255117D626E9}"/>
              </a:ext>
            </a:extLst>
          </p:cNvPr>
          <p:cNvSpPr txBox="1"/>
          <p:nvPr/>
        </p:nvSpPr>
        <p:spPr>
          <a:xfrm>
            <a:off x="10284240" y="2868994"/>
            <a:ext cx="150079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ngoDB AP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Cassandra API</a:t>
            </a:r>
          </a:p>
        </p:txBody>
      </p:sp>
    </p:spTree>
    <p:extLst>
      <p:ext uri="{BB962C8B-B14F-4D97-AF65-F5344CB8AC3E}">
        <p14:creationId xmlns:p14="http://schemas.microsoft.com/office/powerpoint/2010/main" val="30266605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07138" cy="2966966"/>
          </a:xfrm>
        </p:spPr>
        <p:txBody>
          <a:bodyPr wrap="square">
            <a:spAutoFit/>
          </a:bodyPr>
          <a:lstStyle/>
          <a:p>
            <a:pPr marL="0" indent="0">
              <a:buNone/>
            </a:pPr>
            <a:r>
              <a:rPr lang="en-US" sz="2000" b="1" dirty="0">
                <a:solidFill>
                  <a:schemeClr val="bg1"/>
                </a:solidFill>
                <a:latin typeface="Segoe UI" charset="0"/>
                <a:ea typeface="Segoe UI" charset="0"/>
                <a:cs typeface="Segoe UI" charset="0"/>
              </a:rPr>
              <a:t>Global distribution</a:t>
            </a:r>
            <a:endParaRPr lang="en-US" sz="1400" dirty="0">
              <a:solidFill>
                <a:schemeClr val="bg1"/>
              </a:solidFill>
              <a:latin typeface="Segoe UI Semibold" panose="020B0702040204020203" pitchFamily="34" charset="0"/>
              <a:ea typeface="Segoe UI" charset="0"/>
              <a:cs typeface="Segoe UI Semibold" panose="020B0702040204020203" pitchFamily="34" charset="0"/>
            </a:endParaRP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vailable in all Azure region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ulti-homing APIs</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Comprehensive SLA</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Manual and automatic failover</a:t>
            </a:r>
          </a:p>
          <a:p>
            <a:pPr>
              <a:buFont typeface="Wingdings" panose="05000000000000000000" pitchFamily="2" charset="2"/>
              <a:buChar char="§"/>
            </a:pPr>
            <a:r>
              <a:rPr lang="en-US" sz="1400" dirty="0">
                <a:solidFill>
                  <a:schemeClr val="bg1"/>
                </a:solidFill>
                <a:latin typeface="Segoe UI Semibold" panose="020B0702040204020203" pitchFamily="34" charset="0"/>
                <a:ea typeface="Segoe UI" charset="0"/>
                <a:cs typeface="Segoe UI Semibold" panose="020B0702040204020203" pitchFamily="34" charset="0"/>
              </a:rPr>
              <a:t>Automatic &amp; synchronous multi-region replication</a:t>
            </a:r>
          </a:p>
          <a:p>
            <a:pPr>
              <a:buFont typeface="Wingdings" panose="05000000000000000000" pitchFamily="2" charset="2"/>
              <a:buChar char="§"/>
            </a:pPr>
            <a:endParaRPr lang="en-US" sz="2000" b="1" dirty="0">
              <a:solidFill>
                <a:schemeClr val="bg1"/>
              </a:solidFill>
              <a:latin typeface="Segoe UI" charset="0"/>
              <a:ea typeface="Segoe UI" charset="0"/>
              <a:cs typeface="Segoe UI" charset="0"/>
            </a:endParaRPr>
          </a:p>
        </p:txBody>
      </p:sp>
      <p:sp>
        <p:nvSpPr>
          <p:cNvPr id="262" name="TextBox 261"/>
          <p:cNvSpPr txBox="1"/>
          <p:nvPr/>
        </p:nvSpPr>
        <p:spPr>
          <a:xfrm>
            <a:off x="4982961" y="2120672"/>
            <a:ext cx="50785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Automatically replicate all your data around the world – across more regions than Amazon and Google combined</a:t>
            </a:r>
          </a:p>
        </p:txBody>
      </p:sp>
      <p:grpSp>
        <p:nvGrpSpPr>
          <p:cNvPr id="2" name="Group 1"/>
          <p:cNvGrpSpPr/>
          <p:nvPr/>
        </p:nvGrpSpPr>
        <p:grpSpPr>
          <a:xfrm>
            <a:off x="6892413" y="2934416"/>
            <a:ext cx="3244970" cy="3244970"/>
            <a:chOff x="6423232" y="2630244"/>
            <a:chExt cx="3987098" cy="3987098"/>
          </a:xfrm>
        </p:grpSpPr>
        <p:sp>
          <p:nvSpPr>
            <p:cNvPr id="435" name="Freeform: Shape 962"/>
            <p:cNvSpPr/>
            <p:nvPr/>
          </p:nvSpPr>
          <p:spPr>
            <a:xfrm>
              <a:off x="6423232" y="2630244"/>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36" name="Freeform: Shape 260"/>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Shape 262"/>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Shape 263"/>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Shape 264"/>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Shape 265"/>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Shape 266"/>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Shape 267"/>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Shape 268"/>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Shape 269"/>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Shape 270"/>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Shape 271"/>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Shape 272"/>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Shape 273"/>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Shape 274"/>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Shape 275"/>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Shape 276"/>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Shape 277"/>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Shape 278"/>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Shape 279"/>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Shape 280"/>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Shape 281"/>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Shape 282"/>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Shape 283"/>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Shape 284"/>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Shape 285"/>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Shape 286"/>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Shape 287"/>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Shape 288"/>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Shape 289"/>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Shape 290"/>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Shape 291"/>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Shape 292"/>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Shape 293"/>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Shape 294"/>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Shape 295"/>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Shape 296"/>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Shape 297"/>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Shape 298"/>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Shape 299"/>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Shape 300"/>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Shape 301"/>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Shape 302"/>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Shape 303"/>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Shape 304"/>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Shape 305"/>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Shape 306"/>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Shape 307"/>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Shape 308"/>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Shape 309"/>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Shape 310"/>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Shape 311"/>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Shape 312"/>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Shape 313"/>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Shape 314"/>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Shape 315"/>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Shape 316"/>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Shape 317"/>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Shape 318"/>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Shape 319"/>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Shape 320"/>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Shape 321"/>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Shape 322"/>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Shape 323"/>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Shape 324"/>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Shape 325"/>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Shape 326"/>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Shape 327"/>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Shape 328"/>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Shape 329"/>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Shape 330"/>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Shape 331"/>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Shape 332"/>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Shape 333"/>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Shape 334"/>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Shape 335"/>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Shape 336"/>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2" name="Freeform: Shape 337"/>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3" name="Freeform: Shape 338"/>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4" name="Freeform: Shape 339"/>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5" name="Freeform: Shape 340"/>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Shape 341"/>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7" name="Freeform: Shape 342"/>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8" name="Freeform: Shape 343"/>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9" name="Freeform: Shape 344"/>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0" name="Freeform: Shape 345"/>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1" name="Freeform: Shape 346"/>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2" name="Freeform: Shape 347"/>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3" name="Freeform: Shape 348"/>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4" name="Freeform: Shape 349"/>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5" name="Freeform: Shape 350"/>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6" name="Freeform: Shape 351"/>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Shape 352"/>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Shape 353"/>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Shape 354"/>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Shape 355"/>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Shape 356"/>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357"/>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Shape 358"/>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Shape 359"/>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Shape 360"/>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6" name="Freeform: Shape 361"/>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7" name="Freeform: Shape 362"/>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8" name="Freeform: Shape 363"/>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364"/>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365"/>
            <p:cNvSpPr>
              <a:spLocks/>
            </p:cNvSpPr>
            <p:nvPr/>
          </p:nvSpPr>
          <p:spPr bwMode="auto">
            <a:xfrm>
              <a:off x="6991713"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1" name="Freeform: Shape 366"/>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2" name="Freeform: Shape 367"/>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3" name="Freeform: Shape 368"/>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4" name="Freeform: Shape 369"/>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5" name="Freeform: Shape 370"/>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6" name="Freeform: Shape 371"/>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7" name="Freeform: Shape 372"/>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8" name="Freeform: Shape 373"/>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9" name="Freeform: Shape 374"/>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0" name="Freeform: Shape 375"/>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1" name="Freeform: Shape 376"/>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Shape 377"/>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Shape 378"/>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Shape 379"/>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Shape 380"/>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Shape 381"/>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Shape 382"/>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Shape 383"/>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Shape 384"/>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Shape 385"/>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Shape 386"/>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Freeform: Shape 387"/>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Freeform: Shape 388"/>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Shape 389"/>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Shape 390"/>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Shape 391"/>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Shape 392"/>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Shape 393"/>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Shape 394"/>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Shape 395"/>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Freeform: Shape 396"/>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2" name="Freeform: Shape 397"/>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3" name="Freeform: Shape 398"/>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Shape 399"/>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Shape 400"/>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Shape 401"/>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Shape 402"/>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Shape 403"/>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Shape 404"/>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Shape 405"/>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Shape 406"/>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Shape 407"/>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Shape 408"/>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Shape 409"/>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Shape 410"/>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Shape 411"/>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Shape 412"/>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Shape 413"/>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Shape 414"/>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Shape 415"/>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Shape 416"/>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Shape 417"/>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Shape 418"/>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Shape 419"/>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Shape 420"/>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Shape 421"/>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Shape 422"/>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Shape 423"/>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Shape 424"/>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Shape 425"/>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Shape 426"/>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Shape 427"/>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Shape 428"/>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Shape 429"/>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Shape 430"/>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Shape 431"/>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Shape 432"/>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Shape 433"/>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3" name="Group 322"/>
          <p:cNvGrpSpPr/>
          <p:nvPr/>
        </p:nvGrpSpPr>
        <p:grpSpPr>
          <a:xfrm>
            <a:off x="-3930" y="2477052"/>
            <a:ext cx="442013" cy="299377"/>
            <a:chOff x="6082249" y="5559189"/>
            <a:chExt cx="564210" cy="382141"/>
          </a:xfrm>
          <a:solidFill>
            <a:schemeClr val="accent2"/>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983996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23"/>
                                        </p:tgtEl>
                                        <p:attrNameLst>
                                          <p:attrName>style.visibility</p:attrName>
                                        </p:attrNameLst>
                                      </p:cBhvr>
                                      <p:to>
                                        <p:strVal val="visible"/>
                                      </p:to>
                                    </p:set>
                                    <p:animEffect transition="in" filter="fade">
                                      <p:cBhvr>
                                        <p:cTn id="35" dur="500"/>
                                        <p:tgtEl>
                                          <p:spTgt spid="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53004"/>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lastic scale-out</a:t>
            </a:r>
          </a:p>
        </p:txBody>
      </p:sp>
      <p:grpSp>
        <p:nvGrpSpPr>
          <p:cNvPr id="59" name="Group 58"/>
          <p:cNvGrpSpPr/>
          <p:nvPr/>
        </p:nvGrpSpPr>
        <p:grpSpPr>
          <a:xfrm>
            <a:off x="-29046" y="3189906"/>
            <a:ext cx="442013" cy="299377"/>
            <a:chOff x="6082249" y="5559189"/>
            <a:chExt cx="564210" cy="382141"/>
          </a:xfrm>
          <a:solidFill>
            <a:schemeClr val="accent2"/>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TextBox 62"/>
          <p:cNvSpPr txBox="1"/>
          <p:nvPr/>
        </p:nvSpPr>
        <p:spPr>
          <a:xfrm>
            <a:off x="4982961" y="2120672"/>
            <a:ext cx="638172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Independently and elastically scale storage and throughput across regions</a:t>
            </a:r>
          </a:p>
        </p:txBody>
      </p:sp>
      <p:sp>
        <p:nvSpPr>
          <p:cNvPr id="67" name="Freeform: Shape 83"/>
          <p:cNvSpPr/>
          <p:nvPr/>
        </p:nvSpPr>
        <p:spPr>
          <a:xfrm>
            <a:off x="5595062" y="3364257"/>
            <a:ext cx="1886944" cy="2767572"/>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1490"/>
          <p:cNvSpPr/>
          <p:nvPr/>
        </p:nvSpPr>
        <p:spPr bwMode="auto">
          <a:xfrm>
            <a:off x="5522575" y="5883560"/>
            <a:ext cx="332746" cy="42676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p:cNvSpPr/>
          <p:nvPr/>
        </p:nvSpPr>
        <p:spPr>
          <a:xfrm>
            <a:off x="6955971" y="3868738"/>
            <a:ext cx="493486" cy="162514"/>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1490"/>
          <p:cNvSpPr/>
          <p:nvPr/>
        </p:nvSpPr>
        <p:spPr bwMode="auto">
          <a:xfrm>
            <a:off x="6323987" y="5071142"/>
            <a:ext cx="429094" cy="55033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Freeform 1490"/>
          <p:cNvSpPr/>
          <p:nvPr/>
        </p:nvSpPr>
        <p:spPr bwMode="auto">
          <a:xfrm>
            <a:off x="6876807" y="3824869"/>
            <a:ext cx="645206" cy="82751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82"/>
          <p:cNvSpPr/>
          <p:nvPr/>
        </p:nvSpPr>
        <p:spPr>
          <a:xfrm>
            <a:off x="7157918" y="2776429"/>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83"/>
          <p:cNvSpPr/>
          <p:nvPr/>
        </p:nvSpPr>
        <p:spPr>
          <a:xfrm>
            <a:off x="6431200" y="4620675"/>
            <a:ext cx="4549652" cy="169817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82"/>
          <p:cNvSpPr/>
          <p:nvPr/>
        </p:nvSpPr>
        <p:spPr>
          <a:xfrm>
            <a:off x="10844639" y="4079203"/>
            <a:ext cx="728189" cy="38528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 name="Group 9"/>
          <p:cNvGrpSpPr/>
          <p:nvPr/>
        </p:nvGrpSpPr>
        <p:grpSpPr>
          <a:xfrm>
            <a:off x="6102102" y="6100123"/>
            <a:ext cx="549863" cy="549863"/>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7940292" y="5681736"/>
            <a:ext cx="755703" cy="755703"/>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9698282" y="4682060"/>
            <a:ext cx="1013610" cy="1013610"/>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Tree>
    <p:extLst>
      <p:ext uri="{BB962C8B-B14F-4D97-AF65-F5344CB8AC3E}">
        <p14:creationId xmlns:p14="http://schemas.microsoft.com/office/powerpoint/2010/main" val="9235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Analysis Services</a:t>
            </a:r>
          </a:p>
        </p:txBody>
      </p:sp>
    </p:spTree>
    <p:extLst>
      <p:ext uri="{BB962C8B-B14F-4D97-AF65-F5344CB8AC3E}">
        <p14:creationId xmlns:p14="http://schemas.microsoft.com/office/powerpoint/2010/main" val="101349365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p:cNvSpPr/>
          <p:nvPr/>
        </p:nvSpPr>
        <p:spPr>
          <a:xfrm flipH="1">
            <a:off x="9060752" y="4152736"/>
            <a:ext cx="2434561" cy="1080724"/>
          </a:xfrm>
          <a:prstGeom prst="homePlate">
            <a:avLst>
              <a:gd name="adj" fmla="val 431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50"/>
          <p:cNvSpPr/>
          <p:nvPr/>
        </p:nvSpPr>
        <p:spPr>
          <a:xfrm>
            <a:off x="-12389"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194103"/>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38" name="TextBox 37"/>
          <p:cNvSpPr txBox="1"/>
          <p:nvPr/>
        </p:nvSpPr>
        <p:spPr>
          <a:xfrm>
            <a:off x="4982960" y="2120672"/>
            <a:ext cx="538232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Serve &lt;10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read and &lt;15 </a:t>
            </a:r>
            <a:r>
              <a:rPr kumimoji="0" lang="en-US" sz="1400" b="1" i="0" u="none" strike="noStrike" kern="1200" cap="none" spc="0" normalizeH="0" baseline="0" noProof="0" dirty="0" err="1">
                <a:ln>
                  <a:noFill/>
                </a:ln>
                <a:solidFill>
                  <a:srgbClr val="3999C6"/>
                </a:solidFill>
                <a:effectLst/>
                <a:uLnTx/>
                <a:uFillTx/>
                <a:latin typeface="Segoe UI Semibold" charset="0"/>
                <a:ea typeface="Segoe UI Semibold" charset="0"/>
                <a:cs typeface="Segoe UI Semibold" charset="0"/>
              </a:rPr>
              <a:t>ms</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write requests at the 99</a:t>
            </a:r>
            <a:r>
              <a:rPr kumimoji="0" lang="en-US" sz="1400" b="1" i="0" u="none" strike="noStrike" kern="1200" cap="none" spc="0" normalizeH="0" baseline="30000" noProof="0" dirty="0">
                <a:ln>
                  <a:noFill/>
                </a:ln>
                <a:solidFill>
                  <a:srgbClr val="3999C6"/>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  percentile from the nearest region while delivering data globally </a:t>
            </a:r>
          </a:p>
        </p:txBody>
      </p:sp>
      <p:sp>
        <p:nvSpPr>
          <p:cNvPr id="49" name="Content Placeholder 2"/>
          <p:cNvSpPr txBox="1">
            <a:spLocks/>
          </p:cNvSpPr>
          <p:nvPr/>
        </p:nvSpPr>
        <p:spPr>
          <a:xfrm>
            <a:off x="508174" y="3895319"/>
            <a:ext cx="4024313" cy="3693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Guaranteed single-digit latency</a:t>
            </a:r>
          </a:p>
        </p:txBody>
      </p:sp>
      <p:grpSp>
        <p:nvGrpSpPr>
          <p:cNvPr id="50" name="Group 49"/>
          <p:cNvGrpSpPr/>
          <p:nvPr/>
        </p:nvGrpSpPr>
        <p:grpSpPr>
          <a:xfrm>
            <a:off x="-32278" y="3883327"/>
            <a:ext cx="442013" cy="299377"/>
            <a:chOff x="6082249" y="5559189"/>
            <a:chExt cx="564210" cy="382141"/>
          </a:xfrm>
          <a:solidFill>
            <a:schemeClr val="accent2"/>
          </a:solidFill>
        </p:grpSpPr>
        <p:sp>
          <p:nvSpPr>
            <p:cNvPr id="51"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 name="Group 3"/>
          <p:cNvGrpSpPr/>
          <p:nvPr/>
        </p:nvGrpSpPr>
        <p:grpSpPr>
          <a:xfrm rot="900000">
            <a:off x="5535408" y="3031844"/>
            <a:ext cx="3445870" cy="3182404"/>
            <a:chOff x="6471353" y="3010667"/>
            <a:chExt cx="3470438" cy="3205092"/>
          </a:xfrm>
        </p:grpSpPr>
        <p:grpSp>
          <p:nvGrpSpPr>
            <p:cNvPr id="40" name="Group 39"/>
            <p:cNvGrpSpPr/>
            <p:nvPr/>
          </p:nvGrpSpPr>
          <p:grpSpPr>
            <a:xfrm rot="20700000">
              <a:off x="6799197" y="3105194"/>
              <a:ext cx="3029799" cy="3029796"/>
              <a:chOff x="6704138" y="2717800"/>
              <a:chExt cx="3987099" cy="3987098"/>
            </a:xfrm>
          </p:grpSpPr>
          <p:sp>
            <p:nvSpPr>
              <p:cNvPr id="47" name="Freeform: Shape 962"/>
              <p:cNvSpPr/>
              <p:nvPr/>
            </p:nvSpPr>
            <p:spPr>
              <a:xfrm>
                <a:off x="6704138" y="2717800"/>
                <a:ext cx="3987098" cy="3987098"/>
              </a:xfrm>
              <a:prstGeom prst="ellipse">
                <a:avLst/>
              </a:prstGeom>
              <a:solidFill>
                <a:srgbClr val="E8F6F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48" name="Freeform: Shape 117"/>
              <p:cNvSpPr>
                <a:spLocks/>
              </p:cNvSpPr>
              <p:nvPr/>
            </p:nvSpPr>
            <p:spPr bwMode="auto">
              <a:xfrm>
                <a:off x="6828864" y="2917371"/>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B8D43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3" name="Freeform: Shape 111"/>
            <p:cNvSpPr/>
            <p:nvPr/>
          </p:nvSpPr>
          <p:spPr>
            <a:xfrm rot="11700000">
              <a:off x="6658414" y="5005131"/>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111"/>
            <p:cNvSpPr/>
            <p:nvPr/>
          </p:nvSpPr>
          <p:spPr>
            <a:xfrm rot="16200000">
              <a:off x="6418512" y="330908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111"/>
            <p:cNvSpPr/>
            <p:nvPr/>
          </p:nvSpPr>
          <p:spPr>
            <a:xfrm rot="900000">
              <a:off x="9329300" y="3010667"/>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111"/>
            <p:cNvSpPr/>
            <p:nvPr/>
          </p:nvSpPr>
          <p:spPr>
            <a:xfrm rot="6300000">
              <a:off x="9270812" y="5656109"/>
              <a:ext cx="612491" cy="50681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Lst>
              <a:ahLst/>
              <a:cxnLst>
                <a:cxn ang="0">
                  <a:pos x="connsiteX0" y="connsiteY0"/>
                </a:cxn>
                <a:cxn ang="0">
                  <a:pos x="connsiteX1" y="connsiteY1"/>
                </a:cxn>
              </a:cxnLst>
              <a:rect l="l" t="t" r="r" b="b"/>
              <a:pathLst>
                <a:path w="542469" h="448869">
                  <a:moveTo>
                    <a:pt x="0" y="422020"/>
                  </a:moveTo>
                  <a:cubicBezTo>
                    <a:pt x="94797" y="-571633"/>
                    <a:pt x="1163675" y="509581"/>
                    <a:pt x="12734" y="446161"/>
                  </a:cubicBezTo>
                </a:path>
              </a:pathLst>
            </a:custGeom>
            <a:noFill/>
            <a:ln w="31750" cap="rnd">
              <a:solidFill>
                <a:srgbClr val="59B4D9"/>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Rectangle 1"/>
          <p:cNvSpPr/>
          <p:nvPr/>
        </p:nvSpPr>
        <p:spPr>
          <a:xfrm>
            <a:off x="9562488" y="4311240"/>
            <a:ext cx="1873775"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Guaranteed global millisecond latency at the 99</a:t>
            </a:r>
            <a:r>
              <a:rPr kumimoji="0" lang="en-US" sz="1400" b="1" i="0" u="none" strike="noStrike" kern="1200" cap="none" spc="0" normalizeH="0" baseline="30000" noProof="0" dirty="0">
                <a:ln>
                  <a:noFill/>
                </a:ln>
                <a:solidFill>
                  <a:srgbClr val="FFFFFF"/>
                </a:solidFill>
                <a:effectLst/>
                <a:uLnTx/>
                <a:uFillTx/>
                <a:latin typeface="Segoe UI Semibold" charset="0"/>
                <a:ea typeface="Segoe UI Semibold" charset="0"/>
                <a:cs typeface="Segoe UI Semibold" charset="0"/>
              </a:rPr>
              <a:t>th</a:t>
            </a: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 percentile</a:t>
            </a:r>
          </a:p>
        </p:txBody>
      </p:sp>
    </p:spTree>
    <p:extLst>
      <p:ext uri="{BB962C8B-B14F-4D97-AF65-F5344CB8AC3E}">
        <p14:creationId xmlns:p14="http://schemas.microsoft.com/office/powerpoint/2010/main" val="54354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500"/>
                                        <p:tgtEl>
                                          <p:spTgt spid="4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0" y="1984829"/>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38083" y="3209926"/>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38083" y="458311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2"/>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 name="TextBox 29"/>
          <p:cNvSpPr txBox="1"/>
          <p:nvPr/>
        </p:nvSpPr>
        <p:spPr>
          <a:xfrm>
            <a:off x="4982961" y="2120672"/>
            <a:ext cx="67438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Choose from five defined consistency levels for low latency and high availability</a:t>
            </a:r>
          </a:p>
        </p:txBody>
      </p:sp>
      <p:grpSp>
        <p:nvGrpSpPr>
          <p:cNvPr id="9" name="Group 8"/>
          <p:cNvGrpSpPr/>
          <p:nvPr/>
        </p:nvGrpSpPr>
        <p:grpSpPr>
          <a:xfrm>
            <a:off x="5630520" y="3525838"/>
            <a:ext cx="5833002" cy="1324961"/>
            <a:chOff x="5630520" y="3707335"/>
            <a:chExt cx="5833002" cy="1324961"/>
          </a:xfrm>
        </p:grpSpPr>
        <p:sp>
          <p:nvSpPr>
            <p:cNvPr id="32" name="Rectangle 31"/>
            <p:cNvSpPr/>
            <p:nvPr/>
          </p:nvSpPr>
          <p:spPr>
            <a:xfrm>
              <a:off x="5630521" y="3707335"/>
              <a:ext cx="618860" cy="618860"/>
            </a:xfrm>
            <a:prstGeom prst="rect">
              <a:avLst/>
            </a:prstGeom>
            <a:solidFill>
              <a:srgbClr val="3999C6"/>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3" name="Rectangle: Rounded Corners 94"/>
            <p:cNvSpPr/>
            <p:nvPr/>
          </p:nvSpPr>
          <p:spPr>
            <a:xfrm>
              <a:off x="6934056" y="3707335"/>
              <a:ext cx="618860" cy="61886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4" name="Rectangle: Rounded Corners 95"/>
            <p:cNvSpPr/>
            <p:nvPr/>
          </p:nvSpPr>
          <p:spPr>
            <a:xfrm>
              <a:off x="8237591" y="3707335"/>
              <a:ext cx="618860" cy="61886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5" name="Rectangle: Rounded Corners 96"/>
            <p:cNvSpPr/>
            <p:nvPr/>
          </p:nvSpPr>
          <p:spPr>
            <a:xfrm>
              <a:off x="9541126" y="3707335"/>
              <a:ext cx="618860" cy="61886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6" name="Oval 35"/>
            <p:cNvSpPr/>
            <p:nvPr/>
          </p:nvSpPr>
          <p:spPr>
            <a:xfrm>
              <a:off x="10844662" y="3707335"/>
              <a:ext cx="618860" cy="618860"/>
            </a:xfrm>
            <a:prstGeom prst="ellipse">
              <a:avLst/>
            </a:prstGeom>
            <a:solidFill>
              <a:srgbClr val="D7EDF7"/>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37" name="TextBox 36"/>
            <p:cNvSpPr txBox="1"/>
            <p:nvPr/>
          </p:nvSpPr>
          <p:spPr>
            <a:xfrm>
              <a:off x="5715786" y="4376416"/>
              <a:ext cx="44832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trong</a:t>
              </a:r>
            </a:p>
          </p:txBody>
        </p:sp>
        <p:sp>
          <p:nvSpPr>
            <p:cNvPr id="38" name="TextBox 37"/>
            <p:cNvSpPr txBox="1"/>
            <p:nvPr/>
          </p:nvSpPr>
          <p:spPr>
            <a:xfrm>
              <a:off x="6617257" y="4371435"/>
              <a:ext cx="1252458"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Bounded-stateless</a:t>
              </a:r>
            </a:p>
          </p:txBody>
        </p:sp>
        <p:sp>
          <p:nvSpPr>
            <p:cNvPr id="39" name="TextBox 38"/>
            <p:cNvSpPr txBox="1"/>
            <p:nvPr/>
          </p:nvSpPr>
          <p:spPr>
            <a:xfrm>
              <a:off x="8293746" y="4360576"/>
              <a:ext cx="506549"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Session</a:t>
              </a:r>
            </a:p>
          </p:txBody>
        </p:sp>
        <p:sp>
          <p:nvSpPr>
            <p:cNvPr id="40" name="TextBox 39"/>
            <p:cNvSpPr txBox="1"/>
            <p:nvPr/>
          </p:nvSpPr>
          <p:spPr>
            <a:xfrm>
              <a:off x="9286235" y="4376319"/>
              <a:ext cx="1128642"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Consistent prefix</a:t>
              </a:r>
            </a:p>
          </p:txBody>
        </p:sp>
        <p:sp>
          <p:nvSpPr>
            <p:cNvPr id="41" name="TextBox 40"/>
            <p:cNvSpPr txBox="1"/>
            <p:nvPr/>
          </p:nvSpPr>
          <p:spPr>
            <a:xfrm>
              <a:off x="10867539" y="4371435"/>
              <a:ext cx="573106" cy="276999"/>
            </a:xfrm>
            <a:prstGeom prst="rect">
              <a:avLst/>
            </a:prstGeom>
            <a:noFill/>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harset="0"/>
                  <a:ea typeface="Segoe UI" charset="0"/>
                  <a:cs typeface="Segoe UI" charset="0"/>
                </a:rPr>
                <a:t>Eventual</a:t>
              </a:r>
            </a:p>
          </p:txBody>
        </p:sp>
        <p:grpSp>
          <p:nvGrpSpPr>
            <p:cNvPr id="7" name="Group 6"/>
            <p:cNvGrpSpPr/>
            <p:nvPr/>
          </p:nvGrpSpPr>
          <p:grpSpPr>
            <a:xfrm>
              <a:off x="5630520" y="4766228"/>
              <a:ext cx="5833002" cy="266068"/>
              <a:chOff x="5630520" y="4762806"/>
              <a:chExt cx="5833002" cy="266068"/>
            </a:xfrm>
          </p:grpSpPr>
          <p:sp>
            <p:nvSpPr>
              <p:cNvPr id="31" name="Rectangle 30"/>
              <p:cNvSpPr/>
              <p:nvPr/>
            </p:nvSpPr>
            <p:spPr>
              <a:xfrm rot="10800000" flipV="1">
                <a:off x="5630520" y="4869455"/>
                <a:ext cx="5833002" cy="5276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grpSp>
      </p:grpSp>
      <p:sp>
        <p:nvSpPr>
          <p:cNvPr id="43" name="Content Placeholder 2">
            <a:extLst>
              <a:ext uri="{FF2B5EF4-FFF2-40B4-BE49-F238E27FC236}">
                <a16:creationId xmlns:a16="http://schemas.microsoft.com/office/drawing/2014/main" id="{EBEA53ED-0721-41CE-B3DA-34CC55073025}"/>
              </a:ext>
            </a:extLst>
          </p:cNvPr>
          <p:cNvSpPr txBox="1">
            <a:spLocks/>
          </p:cNvSpPr>
          <p:nvPr/>
        </p:nvSpPr>
        <p:spPr>
          <a:xfrm>
            <a:off x="438083" y="3896519"/>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Tree>
    <p:extLst>
      <p:ext uri="{BB962C8B-B14F-4D97-AF65-F5344CB8AC3E}">
        <p14:creationId xmlns:p14="http://schemas.microsoft.com/office/powerpoint/2010/main" val="208126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55565" y="1956254"/>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438083" y="2441575"/>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3930" y="2477052"/>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3930" y="3189074"/>
            <a:ext cx="442013" cy="299377"/>
            <a:chOff x="6082249" y="5559189"/>
            <a:chExt cx="564210" cy="382141"/>
          </a:xfrm>
          <a:solidFill>
            <a:schemeClr val="accent6"/>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Content Placeholder 2"/>
          <p:cNvSpPr txBox="1">
            <a:spLocks/>
          </p:cNvSpPr>
          <p:nvPr/>
        </p:nvSpPr>
        <p:spPr>
          <a:xfrm>
            <a:off x="478700" y="3205957"/>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grpSp>
        <p:nvGrpSpPr>
          <p:cNvPr id="59" name="Group 58"/>
          <p:cNvGrpSpPr/>
          <p:nvPr/>
        </p:nvGrpSpPr>
        <p:grpSpPr>
          <a:xfrm>
            <a:off x="-3930" y="3901096"/>
            <a:ext cx="442013" cy="299377"/>
            <a:chOff x="6082249" y="5559189"/>
            <a:chExt cx="564210" cy="382141"/>
          </a:xfrm>
          <a:solidFill>
            <a:schemeClr val="accent6"/>
          </a:solidFill>
        </p:grpSpPr>
        <p:sp>
          <p:nvSpPr>
            <p:cNvPr id="60" name="Isosceles Triangle 25"/>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Content Placeholder 2"/>
          <p:cNvSpPr txBox="1">
            <a:spLocks/>
          </p:cNvSpPr>
          <p:nvPr/>
        </p:nvSpPr>
        <p:spPr>
          <a:xfrm>
            <a:off x="459098" y="3878581"/>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grpSp>
        <p:nvGrpSpPr>
          <p:cNvPr id="26" name="Group 25"/>
          <p:cNvGrpSpPr/>
          <p:nvPr/>
        </p:nvGrpSpPr>
        <p:grpSpPr>
          <a:xfrm>
            <a:off x="-3930" y="4613118"/>
            <a:ext cx="442013" cy="299377"/>
            <a:chOff x="6082249" y="5559189"/>
            <a:chExt cx="564210" cy="382141"/>
          </a:xfrm>
          <a:solidFill>
            <a:schemeClr val="accent6"/>
          </a:solidFill>
        </p:grpSpPr>
        <p:sp>
          <p:nvSpPr>
            <p:cNvPr id="27"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 name="Content Placeholder 2"/>
          <p:cNvSpPr txBox="1">
            <a:spLocks/>
          </p:cNvSpPr>
          <p:nvPr/>
        </p:nvSpPr>
        <p:spPr>
          <a:xfrm>
            <a:off x="431373" y="461873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3" name="TextBox 52"/>
          <p:cNvSpPr txBox="1"/>
          <p:nvPr/>
        </p:nvSpPr>
        <p:spPr>
          <a:xfrm>
            <a:off x="4982962" y="2120672"/>
            <a:ext cx="510178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mn-ea"/>
                <a:cs typeface="Segoe UI Semibold" charset="0"/>
              </a:rPr>
              <a:t>Only service with financially-backed SLAs for millisecond latency at the 99th percentile, 99.99% HA and guaranteed throughput and consisten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endParaRPr>
          </a:p>
        </p:txBody>
      </p:sp>
      <p:grpSp>
        <p:nvGrpSpPr>
          <p:cNvPr id="55" name="Group 54"/>
          <p:cNvGrpSpPr/>
          <p:nvPr/>
        </p:nvGrpSpPr>
        <p:grpSpPr>
          <a:xfrm>
            <a:off x="6859653" y="4025357"/>
            <a:ext cx="1461284" cy="1946496"/>
            <a:chOff x="8845310" y="3368421"/>
            <a:chExt cx="1905572" cy="2538308"/>
          </a:xfrm>
        </p:grpSpPr>
        <p:sp>
          <p:nvSpPr>
            <p:cNvPr id="88" name="Oval 87"/>
            <p:cNvSpPr/>
            <p:nvPr/>
          </p:nvSpPr>
          <p:spPr>
            <a:xfrm>
              <a:off x="9050588" y="4239238"/>
              <a:ext cx="1506475" cy="15064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1" name="Group 80"/>
            <p:cNvGrpSpPr/>
            <p:nvPr/>
          </p:nvGrpSpPr>
          <p:grpSpPr>
            <a:xfrm>
              <a:off x="8845310" y="3368421"/>
              <a:ext cx="1905572" cy="2538308"/>
              <a:chOff x="5640356" y="3892580"/>
              <a:chExt cx="1139316" cy="1517620"/>
            </a:xfrm>
            <a:solidFill>
              <a:srgbClr val="59B4D9"/>
            </a:solidFill>
          </p:grpSpPr>
          <p:sp>
            <p:nvSpPr>
              <p:cNvPr id="8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2" name="TextBox 81"/>
            <p:cNvSpPr txBox="1"/>
            <p:nvPr/>
          </p:nvSpPr>
          <p:spPr>
            <a:xfrm>
              <a:off x="9264139" y="4736233"/>
              <a:ext cx="1083236" cy="52175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p>
          </p:txBody>
        </p:sp>
        <p:sp>
          <p:nvSpPr>
            <p:cNvPr id="83" name="TextBox 82"/>
            <p:cNvSpPr txBox="1"/>
            <p:nvPr/>
          </p:nvSpPr>
          <p:spPr>
            <a:xfrm>
              <a:off x="9367018" y="3413915"/>
              <a:ext cx="877472" cy="602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HA</a:t>
              </a:r>
            </a:p>
          </p:txBody>
        </p:sp>
      </p:grpSp>
      <p:grpSp>
        <p:nvGrpSpPr>
          <p:cNvPr id="4" name="Group 3"/>
          <p:cNvGrpSpPr/>
          <p:nvPr/>
        </p:nvGrpSpPr>
        <p:grpSpPr>
          <a:xfrm>
            <a:off x="8632723" y="3189074"/>
            <a:ext cx="1461284" cy="1946496"/>
            <a:chOff x="8299583" y="3071107"/>
            <a:chExt cx="1461284" cy="1946496"/>
          </a:xfrm>
        </p:grpSpPr>
        <p:sp>
          <p:nvSpPr>
            <p:cNvPr id="78" name="Oval 77"/>
            <p:cNvSpPr/>
            <p:nvPr/>
          </p:nvSpPr>
          <p:spPr>
            <a:xfrm>
              <a:off x="8459160" y="3745568"/>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7" name="Group 56"/>
            <p:cNvGrpSpPr/>
            <p:nvPr/>
          </p:nvGrpSpPr>
          <p:grpSpPr>
            <a:xfrm>
              <a:off x="8299583" y="3071107"/>
              <a:ext cx="1461284" cy="1946496"/>
              <a:chOff x="5640356" y="3892580"/>
              <a:chExt cx="1139316" cy="1517620"/>
            </a:xfrm>
            <a:solidFill>
              <a:schemeClr val="accent4"/>
            </a:solidFill>
          </p:grpSpPr>
          <p:sp>
            <p:nvSpPr>
              <p:cNvPr id="74" name="Oval 25"/>
              <p:cNvSpPr>
                <a:spLocks noChangeArrowheads="1"/>
              </p:cNvSpPr>
              <p:nvPr/>
            </p:nvSpPr>
            <p:spPr bwMode="auto">
              <a:xfrm>
                <a:off x="5883437" y="4534521"/>
                <a:ext cx="662316"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TextBox 61"/>
            <p:cNvSpPr txBox="1"/>
            <p:nvPr/>
          </p:nvSpPr>
          <p:spPr>
            <a:xfrm>
              <a:off x="8510381" y="3208545"/>
              <a:ext cx="105144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roughput</a:t>
              </a:r>
              <a:endParaRPr kumimoji="0" lang="en-US" sz="6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3" name="TextBox 62"/>
            <p:cNvSpPr txBox="1"/>
            <p:nvPr/>
          </p:nvSpPr>
          <p:spPr>
            <a:xfrm>
              <a:off x="8544430" y="4189821"/>
              <a:ext cx="98333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grpSp>
        <p:nvGrpSpPr>
          <p:cNvPr id="2" name="Group 1"/>
          <p:cNvGrpSpPr/>
          <p:nvPr/>
        </p:nvGrpSpPr>
        <p:grpSpPr>
          <a:xfrm>
            <a:off x="10407950" y="4025357"/>
            <a:ext cx="1461284" cy="1946496"/>
            <a:chOff x="9884176" y="3552718"/>
            <a:chExt cx="1461284" cy="1946496"/>
          </a:xfrm>
        </p:grpSpPr>
        <p:sp>
          <p:nvSpPr>
            <p:cNvPr id="72" name="Oval 71"/>
            <p:cNvSpPr/>
            <p:nvPr/>
          </p:nvSpPr>
          <p:spPr>
            <a:xfrm>
              <a:off x="10041595" y="4220503"/>
              <a:ext cx="1155237" cy="11552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5" name="Group 64"/>
            <p:cNvGrpSpPr/>
            <p:nvPr/>
          </p:nvGrpSpPr>
          <p:grpSpPr>
            <a:xfrm>
              <a:off x="9884176" y="3552718"/>
              <a:ext cx="1461284" cy="1946496"/>
              <a:chOff x="5640356" y="3892580"/>
              <a:chExt cx="1139316" cy="1517620"/>
            </a:xfrm>
            <a:solidFill>
              <a:schemeClr val="accent3"/>
            </a:solidFill>
          </p:grpSpPr>
          <p:sp>
            <p:nvSpPr>
              <p:cNvPr id="68" name="Oval 25"/>
              <p:cNvSpPr>
                <a:spLocks noChangeArrowheads="1"/>
              </p:cNvSpPr>
              <p:nvPr/>
            </p:nvSpPr>
            <p:spPr bwMode="auto">
              <a:xfrm>
                <a:off x="5883437" y="4534521"/>
                <a:ext cx="662316" cy="6645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26"/>
              <p:cNvSpPr>
                <a:spLocks noEditPoints="1"/>
              </p:cNvSpPr>
              <p:nvPr/>
            </p:nvSpPr>
            <p:spPr bwMode="auto">
              <a:xfrm>
                <a:off x="5656740" y="4296712"/>
                <a:ext cx="1115712" cy="1113488"/>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27"/>
              <p:cNvSpPr>
                <a:spLocks/>
              </p:cNvSpPr>
              <p:nvPr/>
            </p:nvSpPr>
            <p:spPr bwMode="auto">
              <a:xfrm>
                <a:off x="5640356" y="3892580"/>
                <a:ext cx="957576"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6" name="TextBox 65"/>
            <p:cNvSpPr txBox="1"/>
            <p:nvPr/>
          </p:nvSpPr>
          <p:spPr>
            <a:xfrm>
              <a:off x="10101386" y="3688873"/>
              <a:ext cx="103861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Consistency</a:t>
              </a:r>
            </a:p>
          </p:txBody>
        </p:sp>
        <p:sp>
          <p:nvSpPr>
            <p:cNvPr id="67" name="TextBox 66"/>
            <p:cNvSpPr txBox="1"/>
            <p:nvPr/>
          </p:nvSpPr>
          <p:spPr>
            <a:xfrm>
              <a:off x="10129021" y="4671432"/>
              <a:ext cx="9833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Guaranteed</a:t>
              </a:r>
            </a:p>
          </p:txBody>
        </p:sp>
      </p:grpSp>
      <p:sp>
        <p:nvSpPr>
          <p:cNvPr id="100" name="Content Placeholder 2"/>
          <p:cNvSpPr txBox="1">
            <a:spLocks/>
          </p:cNvSpPr>
          <p:nvPr/>
        </p:nvSpPr>
        <p:spPr>
          <a:xfrm>
            <a:off x="505014" y="5257774"/>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Enterprise-level SLAs</a:t>
            </a:r>
          </a:p>
        </p:txBody>
      </p:sp>
      <p:grpSp>
        <p:nvGrpSpPr>
          <p:cNvPr id="101" name="Group 100"/>
          <p:cNvGrpSpPr/>
          <p:nvPr/>
        </p:nvGrpSpPr>
        <p:grpSpPr>
          <a:xfrm>
            <a:off x="0" y="5276921"/>
            <a:ext cx="442013" cy="299377"/>
            <a:chOff x="6082249" y="5559189"/>
            <a:chExt cx="564210" cy="382141"/>
          </a:xfrm>
          <a:solidFill>
            <a:schemeClr val="accent2"/>
          </a:solidFill>
        </p:grpSpPr>
        <p:sp>
          <p:nvSpPr>
            <p:cNvPr id="102" name="Isosceles Triangle 22"/>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p:cNvGrpSpPr/>
          <p:nvPr/>
        </p:nvGrpSpPr>
        <p:grpSpPr>
          <a:xfrm>
            <a:off x="5084427" y="3189074"/>
            <a:ext cx="1461284" cy="1946496"/>
            <a:chOff x="5084427" y="3189074"/>
            <a:chExt cx="1461284" cy="1946496"/>
          </a:xfrm>
        </p:grpSpPr>
        <p:sp>
          <p:nvSpPr>
            <p:cNvPr id="79" name="Oval 78"/>
            <p:cNvSpPr/>
            <p:nvPr/>
          </p:nvSpPr>
          <p:spPr>
            <a:xfrm>
              <a:off x="5244004" y="3863535"/>
              <a:ext cx="1155237" cy="1155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0" name="Group 79"/>
            <p:cNvGrpSpPr/>
            <p:nvPr/>
          </p:nvGrpSpPr>
          <p:grpSpPr>
            <a:xfrm>
              <a:off x="5084427" y="3189074"/>
              <a:ext cx="1461284" cy="1946496"/>
              <a:chOff x="5640350" y="3892576"/>
              <a:chExt cx="1139322" cy="1517620"/>
            </a:xfrm>
            <a:solidFill>
              <a:srgbClr val="BAD80A"/>
            </a:solidFill>
          </p:grpSpPr>
          <p:sp>
            <p:nvSpPr>
              <p:cNvPr id="99" name="Oval 25"/>
              <p:cNvSpPr>
                <a:spLocks noChangeArrowheads="1"/>
              </p:cNvSpPr>
              <p:nvPr/>
            </p:nvSpPr>
            <p:spPr bwMode="auto">
              <a:xfrm>
                <a:off x="5883431" y="4534518"/>
                <a:ext cx="662315" cy="66453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26"/>
              <p:cNvSpPr>
                <a:spLocks noEditPoints="1"/>
              </p:cNvSpPr>
              <p:nvPr/>
            </p:nvSpPr>
            <p:spPr bwMode="auto">
              <a:xfrm>
                <a:off x="5656735" y="4296709"/>
                <a:ext cx="1115711" cy="1113487"/>
              </a:xfrm>
              <a:custGeom>
                <a:avLst/>
                <a:gdLst>
                  <a:gd name="T0" fmla="*/ 154 w 168"/>
                  <a:gd name="T1" fmla="*/ 96 h 168"/>
                  <a:gd name="T2" fmla="*/ 168 w 168"/>
                  <a:gd name="T3" fmla="*/ 84 h 168"/>
                  <a:gd name="T4" fmla="*/ 154 w 168"/>
                  <a:gd name="T5" fmla="*/ 73 h 168"/>
                  <a:gd name="T6" fmla="*/ 163 w 168"/>
                  <a:gd name="T7" fmla="*/ 58 h 168"/>
                  <a:gd name="T8" fmla="*/ 147 w 168"/>
                  <a:gd name="T9" fmla="*/ 52 h 168"/>
                  <a:gd name="T10" fmla="*/ 152 w 168"/>
                  <a:gd name="T11" fmla="*/ 35 h 168"/>
                  <a:gd name="T12" fmla="*/ 134 w 168"/>
                  <a:gd name="T13" fmla="*/ 34 h 168"/>
                  <a:gd name="T14" fmla="*/ 133 w 168"/>
                  <a:gd name="T15" fmla="*/ 16 h 168"/>
                  <a:gd name="T16" fmla="*/ 116 w 168"/>
                  <a:gd name="T17" fmla="*/ 21 h 168"/>
                  <a:gd name="T18" fmla="*/ 110 w 168"/>
                  <a:gd name="T19" fmla="*/ 4 h 168"/>
                  <a:gd name="T20" fmla="*/ 95 w 168"/>
                  <a:gd name="T21" fmla="*/ 14 h 168"/>
                  <a:gd name="T22" fmla="*/ 84 w 168"/>
                  <a:gd name="T23" fmla="*/ 0 h 168"/>
                  <a:gd name="T24" fmla="*/ 72 w 168"/>
                  <a:gd name="T25" fmla="*/ 14 h 168"/>
                  <a:gd name="T26" fmla="*/ 58 w 168"/>
                  <a:gd name="T27" fmla="*/ 4 h 168"/>
                  <a:gd name="T28" fmla="*/ 51 w 168"/>
                  <a:gd name="T29" fmla="*/ 21 h 168"/>
                  <a:gd name="T30" fmla="*/ 34 w 168"/>
                  <a:gd name="T31" fmla="*/ 16 h 168"/>
                  <a:gd name="T32" fmla="*/ 33 w 168"/>
                  <a:gd name="T33" fmla="*/ 34 h 168"/>
                  <a:gd name="T34" fmla="*/ 16 w 168"/>
                  <a:gd name="T35" fmla="*/ 35 h 168"/>
                  <a:gd name="T36" fmla="*/ 20 w 168"/>
                  <a:gd name="T37" fmla="*/ 52 h 168"/>
                  <a:gd name="T38" fmla="*/ 4 w 168"/>
                  <a:gd name="T39" fmla="*/ 58 h 168"/>
                  <a:gd name="T40" fmla="*/ 13 w 168"/>
                  <a:gd name="T41" fmla="*/ 73 h 168"/>
                  <a:gd name="T42" fmla="*/ 0 w 168"/>
                  <a:gd name="T43" fmla="*/ 84 h 168"/>
                  <a:gd name="T44" fmla="*/ 13 w 168"/>
                  <a:gd name="T45" fmla="*/ 96 h 168"/>
                  <a:gd name="T46" fmla="*/ 4 w 168"/>
                  <a:gd name="T47" fmla="*/ 110 h 168"/>
                  <a:gd name="T48" fmla="*/ 20 w 168"/>
                  <a:gd name="T49" fmla="*/ 117 h 168"/>
                  <a:gd name="T50" fmla="*/ 16 w 168"/>
                  <a:gd name="T51" fmla="*/ 134 h 168"/>
                  <a:gd name="T52" fmla="*/ 33 w 168"/>
                  <a:gd name="T53" fmla="*/ 135 h 168"/>
                  <a:gd name="T54" fmla="*/ 34 w 168"/>
                  <a:gd name="T55" fmla="*/ 152 h 168"/>
                  <a:gd name="T56" fmla="*/ 51 w 168"/>
                  <a:gd name="T57" fmla="*/ 148 h 168"/>
                  <a:gd name="T58" fmla="*/ 58 w 168"/>
                  <a:gd name="T59" fmla="*/ 164 h 168"/>
                  <a:gd name="T60" fmla="*/ 72 w 168"/>
                  <a:gd name="T61" fmla="*/ 155 h 168"/>
                  <a:gd name="T62" fmla="*/ 84 w 168"/>
                  <a:gd name="T63" fmla="*/ 168 h 168"/>
                  <a:gd name="T64" fmla="*/ 95 w 168"/>
                  <a:gd name="T65" fmla="*/ 155 h 168"/>
                  <a:gd name="T66" fmla="*/ 110 w 168"/>
                  <a:gd name="T67" fmla="*/ 164 h 168"/>
                  <a:gd name="T68" fmla="*/ 116 w 168"/>
                  <a:gd name="T69" fmla="*/ 148 h 168"/>
                  <a:gd name="T70" fmla="*/ 133 w 168"/>
                  <a:gd name="T71" fmla="*/ 152 h 168"/>
                  <a:gd name="T72" fmla="*/ 134 w 168"/>
                  <a:gd name="T73" fmla="*/ 135 h 168"/>
                  <a:gd name="T74" fmla="*/ 152 w 168"/>
                  <a:gd name="T75" fmla="*/ 134 h 168"/>
                  <a:gd name="T76" fmla="*/ 147 w 168"/>
                  <a:gd name="T77" fmla="*/ 117 h 168"/>
                  <a:gd name="T78" fmla="*/ 163 w 168"/>
                  <a:gd name="T79" fmla="*/ 110 h 168"/>
                  <a:gd name="T80" fmla="*/ 154 w 168"/>
                  <a:gd name="T81" fmla="*/ 96 h 168"/>
                  <a:gd name="T82" fmla="*/ 84 w 168"/>
                  <a:gd name="T83" fmla="*/ 148 h 168"/>
                  <a:gd name="T84" fmla="*/ 22 w 168"/>
                  <a:gd name="T85" fmla="*/ 86 h 168"/>
                  <a:gd name="T86" fmla="*/ 84 w 168"/>
                  <a:gd name="T87" fmla="*/ 24 h 168"/>
                  <a:gd name="T88" fmla="*/ 146 w 168"/>
                  <a:gd name="T89" fmla="*/ 86 h 168"/>
                  <a:gd name="T90" fmla="*/ 84 w 168"/>
                  <a:gd name="T91" fmla="*/ 14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54" y="96"/>
                    </a:moveTo>
                    <a:cubicBezTo>
                      <a:pt x="168" y="84"/>
                      <a:pt x="168" y="84"/>
                      <a:pt x="168" y="84"/>
                    </a:cubicBezTo>
                    <a:cubicBezTo>
                      <a:pt x="154" y="73"/>
                      <a:pt x="154" y="73"/>
                      <a:pt x="154" y="73"/>
                    </a:cubicBezTo>
                    <a:cubicBezTo>
                      <a:pt x="163" y="58"/>
                      <a:pt x="163" y="58"/>
                      <a:pt x="163" y="58"/>
                    </a:cubicBezTo>
                    <a:cubicBezTo>
                      <a:pt x="147" y="52"/>
                      <a:pt x="147" y="52"/>
                      <a:pt x="147" y="52"/>
                    </a:cubicBezTo>
                    <a:cubicBezTo>
                      <a:pt x="152" y="35"/>
                      <a:pt x="152" y="35"/>
                      <a:pt x="152" y="35"/>
                    </a:cubicBezTo>
                    <a:cubicBezTo>
                      <a:pt x="134" y="34"/>
                      <a:pt x="134" y="34"/>
                      <a:pt x="134" y="34"/>
                    </a:cubicBezTo>
                    <a:cubicBezTo>
                      <a:pt x="133" y="16"/>
                      <a:pt x="133" y="16"/>
                      <a:pt x="133" y="16"/>
                    </a:cubicBezTo>
                    <a:cubicBezTo>
                      <a:pt x="116" y="21"/>
                      <a:pt x="116" y="21"/>
                      <a:pt x="116" y="21"/>
                    </a:cubicBezTo>
                    <a:cubicBezTo>
                      <a:pt x="110" y="4"/>
                      <a:pt x="110" y="4"/>
                      <a:pt x="110" y="4"/>
                    </a:cubicBezTo>
                    <a:cubicBezTo>
                      <a:pt x="95" y="14"/>
                      <a:pt x="95" y="14"/>
                      <a:pt x="95" y="14"/>
                    </a:cubicBezTo>
                    <a:cubicBezTo>
                      <a:pt x="84" y="0"/>
                      <a:pt x="84" y="0"/>
                      <a:pt x="84" y="0"/>
                    </a:cubicBezTo>
                    <a:cubicBezTo>
                      <a:pt x="72" y="14"/>
                      <a:pt x="72" y="14"/>
                      <a:pt x="72" y="14"/>
                    </a:cubicBezTo>
                    <a:cubicBezTo>
                      <a:pt x="58" y="4"/>
                      <a:pt x="58" y="4"/>
                      <a:pt x="58" y="4"/>
                    </a:cubicBezTo>
                    <a:cubicBezTo>
                      <a:pt x="51" y="21"/>
                      <a:pt x="51" y="21"/>
                      <a:pt x="51" y="21"/>
                    </a:cubicBezTo>
                    <a:cubicBezTo>
                      <a:pt x="34" y="16"/>
                      <a:pt x="34" y="16"/>
                      <a:pt x="34" y="16"/>
                    </a:cubicBezTo>
                    <a:cubicBezTo>
                      <a:pt x="33" y="34"/>
                      <a:pt x="33" y="34"/>
                      <a:pt x="33" y="34"/>
                    </a:cubicBezTo>
                    <a:cubicBezTo>
                      <a:pt x="16" y="35"/>
                      <a:pt x="16" y="35"/>
                      <a:pt x="16" y="35"/>
                    </a:cubicBezTo>
                    <a:cubicBezTo>
                      <a:pt x="20" y="52"/>
                      <a:pt x="20" y="52"/>
                      <a:pt x="20" y="52"/>
                    </a:cubicBezTo>
                    <a:cubicBezTo>
                      <a:pt x="4" y="58"/>
                      <a:pt x="4" y="58"/>
                      <a:pt x="4" y="58"/>
                    </a:cubicBezTo>
                    <a:cubicBezTo>
                      <a:pt x="13" y="73"/>
                      <a:pt x="13" y="73"/>
                      <a:pt x="13" y="73"/>
                    </a:cubicBezTo>
                    <a:cubicBezTo>
                      <a:pt x="0" y="84"/>
                      <a:pt x="0" y="84"/>
                      <a:pt x="0" y="84"/>
                    </a:cubicBezTo>
                    <a:cubicBezTo>
                      <a:pt x="13" y="96"/>
                      <a:pt x="13" y="96"/>
                      <a:pt x="13" y="96"/>
                    </a:cubicBezTo>
                    <a:cubicBezTo>
                      <a:pt x="4" y="110"/>
                      <a:pt x="4" y="110"/>
                      <a:pt x="4" y="110"/>
                    </a:cubicBezTo>
                    <a:cubicBezTo>
                      <a:pt x="20" y="117"/>
                      <a:pt x="20" y="117"/>
                      <a:pt x="20" y="117"/>
                    </a:cubicBezTo>
                    <a:cubicBezTo>
                      <a:pt x="16" y="134"/>
                      <a:pt x="16" y="134"/>
                      <a:pt x="16" y="134"/>
                    </a:cubicBezTo>
                    <a:cubicBezTo>
                      <a:pt x="33" y="135"/>
                      <a:pt x="33" y="135"/>
                      <a:pt x="33" y="135"/>
                    </a:cubicBezTo>
                    <a:cubicBezTo>
                      <a:pt x="34" y="152"/>
                      <a:pt x="34" y="152"/>
                      <a:pt x="34" y="152"/>
                    </a:cubicBezTo>
                    <a:cubicBezTo>
                      <a:pt x="51" y="148"/>
                      <a:pt x="51" y="148"/>
                      <a:pt x="51" y="148"/>
                    </a:cubicBezTo>
                    <a:cubicBezTo>
                      <a:pt x="58" y="164"/>
                      <a:pt x="58" y="164"/>
                      <a:pt x="58" y="164"/>
                    </a:cubicBezTo>
                    <a:cubicBezTo>
                      <a:pt x="72" y="155"/>
                      <a:pt x="72" y="155"/>
                      <a:pt x="72" y="155"/>
                    </a:cubicBezTo>
                    <a:cubicBezTo>
                      <a:pt x="84" y="168"/>
                      <a:pt x="84" y="168"/>
                      <a:pt x="84" y="168"/>
                    </a:cubicBezTo>
                    <a:cubicBezTo>
                      <a:pt x="95" y="155"/>
                      <a:pt x="95" y="155"/>
                      <a:pt x="95" y="155"/>
                    </a:cubicBezTo>
                    <a:cubicBezTo>
                      <a:pt x="110" y="164"/>
                      <a:pt x="110" y="164"/>
                      <a:pt x="110" y="164"/>
                    </a:cubicBezTo>
                    <a:cubicBezTo>
                      <a:pt x="116" y="148"/>
                      <a:pt x="116" y="148"/>
                      <a:pt x="116" y="148"/>
                    </a:cubicBezTo>
                    <a:cubicBezTo>
                      <a:pt x="133" y="152"/>
                      <a:pt x="133" y="152"/>
                      <a:pt x="133" y="152"/>
                    </a:cubicBezTo>
                    <a:cubicBezTo>
                      <a:pt x="134" y="135"/>
                      <a:pt x="134" y="135"/>
                      <a:pt x="134" y="135"/>
                    </a:cubicBezTo>
                    <a:cubicBezTo>
                      <a:pt x="152" y="134"/>
                      <a:pt x="152" y="134"/>
                      <a:pt x="152" y="134"/>
                    </a:cubicBezTo>
                    <a:cubicBezTo>
                      <a:pt x="147" y="117"/>
                      <a:pt x="147" y="117"/>
                      <a:pt x="147" y="117"/>
                    </a:cubicBezTo>
                    <a:cubicBezTo>
                      <a:pt x="163" y="110"/>
                      <a:pt x="163" y="110"/>
                      <a:pt x="163" y="110"/>
                    </a:cubicBezTo>
                    <a:lnTo>
                      <a:pt x="154" y="96"/>
                    </a:lnTo>
                    <a:close/>
                    <a:moveTo>
                      <a:pt x="84" y="148"/>
                    </a:moveTo>
                    <a:cubicBezTo>
                      <a:pt x="50" y="148"/>
                      <a:pt x="22" y="120"/>
                      <a:pt x="22" y="86"/>
                    </a:cubicBezTo>
                    <a:cubicBezTo>
                      <a:pt x="22" y="51"/>
                      <a:pt x="50" y="24"/>
                      <a:pt x="84" y="24"/>
                    </a:cubicBezTo>
                    <a:cubicBezTo>
                      <a:pt x="118" y="24"/>
                      <a:pt x="146" y="51"/>
                      <a:pt x="146" y="86"/>
                    </a:cubicBezTo>
                    <a:cubicBezTo>
                      <a:pt x="146" y="120"/>
                      <a:pt x="118" y="148"/>
                      <a:pt x="84" y="14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27"/>
              <p:cNvSpPr>
                <a:spLocks/>
              </p:cNvSpPr>
              <p:nvPr/>
            </p:nvSpPr>
            <p:spPr bwMode="auto">
              <a:xfrm>
                <a:off x="5640350" y="3892576"/>
                <a:ext cx="957575" cy="537586"/>
              </a:xfrm>
              <a:custGeom>
                <a:avLst/>
                <a:gdLst>
                  <a:gd name="T0" fmla="*/ 627 w 627"/>
                  <a:gd name="T1" fmla="*/ 0 h 352"/>
                  <a:gd name="T2" fmla="*/ 119 w 627"/>
                  <a:gd name="T3" fmla="*/ 0 h 352"/>
                  <a:gd name="T4" fmla="*/ 119 w 627"/>
                  <a:gd name="T5" fmla="*/ 259 h 352"/>
                  <a:gd name="T6" fmla="*/ 72 w 627"/>
                  <a:gd name="T7" fmla="*/ 241 h 352"/>
                  <a:gd name="T8" fmla="*/ 72 w 627"/>
                  <a:gd name="T9" fmla="*/ 0 h 352"/>
                  <a:gd name="T10" fmla="*/ 45 w 627"/>
                  <a:gd name="T11" fmla="*/ 0 h 352"/>
                  <a:gd name="T12" fmla="*/ 45 w 627"/>
                  <a:gd name="T13" fmla="*/ 232 h 352"/>
                  <a:gd name="T14" fmla="*/ 21 w 627"/>
                  <a:gd name="T15" fmla="*/ 223 h 352"/>
                  <a:gd name="T16" fmla="*/ 21 w 627"/>
                  <a:gd name="T17" fmla="*/ 0 h 352"/>
                  <a:gd name="T18" fmla="*/ 0 w 627"/>
                  <a:gd name="T19" fmla="*/ 0 h 352"/>
                  <a:gd name="T20" fmla="*/ 0 w 627"/>
                  <a:gd name="T21" fmla="*/ 215 h 352"/>
                  <a:gd name="T22" fmla="*/ 373 w 627"/>
                  <a:gd name="T23" fmla="*/ 352 h 352"/>
                  <a:gd name="T24" fmla="*/ 627 w 627"/>
                  <a:gd name="T25" fmla="*/ 259 h 352"/>
                  <a:gd name="T26" fmla="*/ 627 w 627"/>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7" h="352">
                    <a:moveTo>
                      <a:pt x="627" y="0"/>
                    </a:moveTo>
                    <a:lnTo>
                      <a:pt x="119" y="0"/>
                    </a:lnTo>
                    <a:lnTo>
                      <a:pt x="119" y="259"/>
                    </a:lnTo>
                    <a:lnTo>
                      <a:pt x="72" y="241"/>
                    </a:lnTo>
                    <a:lnTo>
                      <a:pt x="72" y="0"/>
                    </a:lnTo>
                    <a:lnTo>
                      <a:pt x="45" y="0"/>
                    </a:lnTo>
                    <a:lnTo>
                      <a:pt x="45" y="232"/>
                    </a:lnTo>
                    <a:lnTo>
                      <a:pt x="21" y="223"/>
                    </a:lnTo>
                    <a:lnTo>
                      <a:pt x="21" y="0"/>
                    </a:lnTo>
                    <a:lnTo>
                      <a:pt x="0" y="0"/>
                    </a:lnTo>
                    <a:lnTo>
                      <a:pt x="0" y="215"/>
                    </a:lnTo>
                    <a:lnTo>
                      <a:pt x="373" y="352"/>
                    </a:lnTo>
                    <a:lnTo>
                      <a:pt x="627" y="259"/>
                    </a:lnTo>
                    <a:lnTo>
                      <a:pt x="627"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28"/>
              <p:cNvSpPr>
                <a:spLocks/>
              </p:cNvSpPr>
              <p:nvPr/>
            </p:nvSpPr>
            <p:spPr bwMode="auto">
              <a:xfrm>
                <a:off x="6643748" y="3892580"/>
                <a:ext cx="135924" cy="377227"/>
              </a:xfrm>
              <a:custGeom>
                <a:avLst/>
                <a:gdLst>
                  <a:gd name="T0" fmla="*/ 65 w 89"/>
                  <a:gd name="T1" fmla="*/ 0 h 247"/>
                  <a:gd name="T2" fmla="*/ 65 w 89"/>
                  <a:gd name="T3" fmla="*/ 223 h 247"/>
                  <a:gd name="T4" fmla="*/ 41 w 89"/>
                  <a:gd name="T5" fmla="*/ 232 h 247"/>
                  <a:gd name="T6" fmla="*/ 41 w 89"/>
                  <a:gd name="T7" fmla="*/ 0 h 247"/>
                  <a:gd name="T8" fmla="*/ 14 w 89"/>
                  <a:gd name="T9" fmla="*/ 0 h 247"/>
                  <a:gd name="T10" fmla="*/ 14 w 89"/>
                  <a:gd name="T11" fmla="*/ 241 h 247"/>
                  <a:gd name="T12" fmla="*/ 0 w 89"/>
                  <a:gd name="T13" fmla="*/ 247 h 247"/>
                  <a:gd name="T14" fmla="*/ 89 w 89"/>
                  <a:gd name="T15" fmla="*/ 215 h 247"/>
                  <a:gd name="T16" fmla="*/ 89 w 89"/>
                  <a:gd name="T17" fmla="*/ 0 h 247"/>
                  <a:gd name="T18" fmla="*/ 65 w 89"/>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47">
                    <a:moveTo>
                      <a:pt x="65" y="0"/>
                    </a:moveTo>
                    <a:lnTo>
                      <a:pt x="65" y="223"/>
                    </a:lnTo>
                    <a:lnTo>
                      <a:pt x="41" y="232"/>
                    </a:lnTo>
                    <a:lnTo>
                      <a:pt x="41" y="0"/>
                    </a:lnTo>
                    <a:lnTo>
                      <a:pt x="14" y="0"/>
                    </a:lnTo>
                    <a:lnTo>
                      <a:pt x="14" y="241"/>
                    </a:lnTo>
                    <a:lnTo>
                      <a:pt x="0" y="247"/>
                    </a:lnTo>
                    <a:lnTo>
                      <a:pt x="89" y="215"/>
                    </a:lnTo>
                    <a:lnTo>
                      <a:pt x="89" y="0"/>
                    </a:lnTo>
                    <a:lnTo>
                      <a:pt x="6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TextBox 88"/>
            <p:cNvSpPr txBox="1"/>
            <p:nvPr/>
          </p:nvSpPr>
          <p:spPr>
            <a:xfrm>
              <a:off x="5335255" y="4188176"/>
              <a:ext cx="920444" cy="3416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t;10ms</a:t>
              </a:r>
              <a:endParaRPr kumimoji="0" lang="en-US" sz="1000" b="1" i="0" u="none" strike="noStrike" kern="1200" cap="none" spc="-1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endParaRPr>
            </a:p>
          </p:txBody>
        </p:sp>
        <p:sp>
          <p:nvSpPr>
            <p:cNvPr id="90" name="TextBox 89"/>
            <p:cNvSpPr txBox="1"/>
            <p:nvPr/>
          </p:nvSpPr>
          <p:spPr>
            <a:xfrm>
              <a:off x="5329274" y="3271164"/>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Latency</a:t>
              </a:r>
            </a:p>
          </p:txBody>
        </p:sp>
        <p:sp>
          <p:nvSpPr>
            <p:cNvPr id="107" name="TextBox 106"/>
            <p:cNvSpPr txBox="1"/>
            <p:nvPr/>
          </p:nvSpPr>
          <p:spPr>
            <a:xfrm>
              <a:off x="5493766" y="4479909"/>
              <a:ext cx="654346" cy="307777"/>
            </a:xfrm>
            <a:prstGeom prst="rect">
              <a:avLst/>
            </a:prstGeom>
            <a:noFill/>
          </p:spPr>
          <p:txBody>
            <a:bodyPr wrap="non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99</a:t>
              </a:r>
              <a:r>
                <a:rPr kumimoji="0" lang="en-US" sz="900" b="1" i="0" u="none" strike="noStrike" kern="1200" cap="none" spc="0" normalizeH="0" baseline="3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t>th</a:t>
              </a:r>
              <a:br>
                <a:rPr kumimoji="0" lang="en-US" sz="900" b="1" i="0" u="none" strike="noStrike" kern="1200" cap="none" spc="0" normalizeH="0" baseline="60000" noProof="0" dirty="0">
                  <a:ln>
                    <a:noFill/>
                  </a:ln>
                  <a:solidFill>
                    <a:srgbClr val="FFFFFF"/>
                  </a:solidFill>
                  <a:effectLst/>
                  <a:uLnTx/>
                  <a:uFillTx/>
                  <a:latin typeface="Segoe UI"/>
                  <a:ea typeface="Segoe UI Black" panose="020B0A02040204020203" pitchFamily="34" charset="0"/>
                  <a:cs typeface="Segoe UI Black" panose="020B0A02040204020203" pitchFamily="34" charset="0"/>
                </a:rPr>
              </a:br>
              <a:r>
                <a:rPr kumimoji="0" lang="en-US" sz="800" b="1" i="0" u="none" strike="noStrike" kern="1200" cap="none" spc="-10" normalizeH="0" baseline="0" noProof="0" dirty="0">
                  <a:ln>
                    <a:noFill/>
                  </a:ln>
                  <a:solidFill>
                    <a:srgbClr val="FFFFFF"/>
                  </a:solidFill>
                  <a:effectLst/>
                  <a:uLnTx/>
                  <a:uFillTx/>
                  <a:latin typeface="Segoe UI"/>
                  <a:ea typeface="+mn-ea"/>
                  <a:cs typeface="+mn-cs"/>
                </a:rPr>
                <a:t>percentile</a:t>
              </a:r>
              <a:endParaRPr kumimoji="0" lang="en-US" sz="950" b="1" i="0" u="none" strike="noStrike" kern="1200" cap="none" spc="-1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33871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0">
                                            <p:txEl>
                                              <p:pRg st="0" end="0"/>
                                            </p:txEl>
                                          </p:spTgt>
                                        </p:tgtEl>
                                        <p:attrNameLst>
                                          <p:attrName>style.visibility</p:attrName>
                                        </p:attrNameLst>
                                      </p:cBhvr>
                                      <p:to>
                                        <p:strVal val="visible"/>
                                      </p:to>
                                    </p:set>
                                    <p:animEffect transition="in" filter="fade">
                                      <p:cBhvr>
                                        <p:cTn id="7" dur="500"/>
                                        <p:tgtEl>
                                          <p:spTgt spid="10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a:xfrm>
            <a:off x="10802" y="1992517"/>
            <a:ext cx="4837797" cy="4873171"/>
          </a:xfrm>
          <a:prstGeom prst="rect">
            <a:avLst/>
          </a:prstGeom>
          <a:solidFill>
            <a:srgbClr val="3999C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
              <a:cs typeface=""/>
            </a:endParaRPr>
          </a:p>
        </p:txBody>
      </p:sp>
      <p:sp>
        <p:nvSpPr>
          <p:cNvPr id="11" name="Title 10"/>
          <p:cNvSpPr>
            <a:spLocks noGrp="1"/>
          </p:cNvSpPr>
          <p:nvPr>
            <p:ph type="title"/>
          </p:nvPr>
        </p:nvSpPr>
        <p:spPr/>
        <p:txBody>
          <a:bodyPr>
            <a:noAutofit/>
          </a:bodyPr>
          <a:lstStyle/>
          <a:p>
            <a:r>
              <a:rPr lang="en-US" dirty="0"/>
              <a:t>Introducing Azure Cosmos DB</a:t>
            </a:r>
            <a:br>
              <a:rPr lang="en-US" dirty="0"/>
            </a:br>
            <a:r>
              <a:rPr lang="en-US" sz="2400" dirty="0">
                <a:solidFill>
                  <a:schemeClr val="accent1"/>
                </a:solidFill>
              </a:rPr>
              <a:t>A globally distributed, massively scalable, multi-model database service</a:t>
            </a:r>
          </a:p>
        </p:txBody>
      </p:sp>
      <p:sp>
        <p:nvSpPr>
          <p:cNvPr id="3" name="Content Placeholder 2"/>
          <p:cNvSpPr>
            <a:spLocks noGrp="1"/>
          </p:cNvSpPr>
          <p:nvPr>
            <p:ph sz="half" idx="4294967295"/>
          </p:nvPr>
        </p:nvSpPr>
        <p:spPr>
          <a:xfrm>
            <a:off x="544823" y="2317751"/>
            <a:ext cx="2668588" cy="369888"/>
          </a:xfrm>
        </p:spPr>
        <p:txBody>
          <a:bodyPr wrap="square">
            <a:spAutoFit/>
          </a:bodyPr>
          <a:lstStyle/>
          <a:p>
            <a:pPr marL="0" indent="0">
              <a:buNone/>
            </a:pPr>
            <a:r>
              <a:rPr lang="en-US" sz="2000" b="1" dirty="0">
                <a:solidFill>
                  <a:srgbClr val="59B4D9"/>
                </a:solidFill>
                <a:latin typeface="Segoe UI" charset="0"/>
                <a:ea typeface="Segoe UI" charset="0"/>
                <a:cs typeface="Segoe UI" charset="0"/>
              </a:rPr>
              <a:t>Global distribution</a:t>
            </a:r>
          </a:p>
        </p:txBody>
      </p:sp>
      <p:grpSp>
        <p:nvGrpSpPr>
          <p:cNvPr id="323" name="Group 322"/>
          <p:cNvGrpSpPr/>
          <p:nvPr/>
        </p:nvGrpSpPr>
        <p:grpSpPr>
          <a:xfrm>
            <a:off x="63274" y="2341657"/>
            <a:ext cx="442013" cy="299377"/>
            <a:chOff x="6082249" y="5559189"/>
            <a:chExt cx="564210" cy="382141"/>
          </a:xfrm>
          <a:solidFill>
            <a:schemeClr val="accent6"/>
          </a:solidFill>
        </p:grpSpPr>
        <p:sp>
          <p:nvSpPr>
            <p:cNvPr id="324" name="Isosceles Triangle 31"/>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325" name="Rectangle 324"/>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sp>
        <p:nvSpPr>
          <p:cNvPr id="184" name="Content Placeholder 2"/>
          <p:cNvSpPr txBox="1">
            <a:spLocks/>
          </p:cNvSpPr>
          <p:nvPr/>
        </p:nvSpPr>
        <p:spPr>
          <a:xfrm>
            <a:off x="544823" y="6132476"/>
            <a:ext cx="3328988" cy="77457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rPr>
              <a:t>Multi-model + multi API</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srgbClr val="FFFFFF"/>
              </a:solidFill>
              <a:effectLst/>
              <a:uLnTx/>
              <a:uFillTx/>
              <a:latin typeface="Segoe UI" charset="0"/>
              <a:ea typeface="Segoe UI" charset="0"/>
              <a:cs typeface="Segoe UI" charset="0"/>
            </a:endParaRPr>
          </a:p>
        </p:txBody>
      </p:sp>
      <p:grpSp>
        <p:nvGrpSpPr>
          <p:cNvPr id="185" name="Group 184"/>
          <p:cNvGrpSpPr/>
          <p:nvPr/>
        </p:nvGrpSpPr>
        <p:grpSpPr>
          <a:xfrm>
            <a:off x="55116" y="6164829"/>
            <a:ext cx="442013" cy="299377"/>
            <a:chOff x="6082249" y="5559189"/>
            <a:chExt cx="564210" cy="382141"/>
          </a:xfrm>
          <a:solidFill>
            <a:schemeClr val="accent2"/>
          </a:solidFill>
        </p:grpSpPr>
        <p:sp>
          <p:nvSpPr>
            <p:cNvPr id="186" name="Isosceles Triangle 28"/>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ectangle 186"/>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9" name="TextBox 188"/>
          <p:cNvSpPr txBox="1"/>
          <p:nvPr/>
        </p:nvSpPr>
        <p:spPr>
          <a:xfrm>
            <a:off x="4982960" y="2120672"/>
            <a:ext cx="52883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999C6"/>
                </a:solidFill>
                <a:effectLst/>
                <a:uLnTx/>
                <a:uFillTx/>
                <a:latin typeface="Segoe UI Semibold" charset="0"/>
                <a:ea typeface="Segoe UI Semibold" charset="0"/>
                <a:cs typeface="Segoe UI Semibold" charset="0"/>
              </a:rPr>
              <a:t>Use key-value, graph, and document with a schema-agnostic service that doesn’t require any schema or secondary indexes</a:t>
            </a:r>
          </a:p>
        </p:txBody>
      </p:sp>
      <p:grpSp>
        <p:nvGrpSpPr>
          <p:cNvPr id="9" name="Group 8"/>
          <p:cNvGrpSpPr/>
          <p:nvPr/>
        </p:nvGrpSpPr>
        <p:grpSpPr>
          <a:xfrm>
            <a:off x="6675588" y="3104083"/>
            <a:ext cx="1420126" cy="1325020"/>
            <a:chOff x="6320820" y="3015862"/>
            <a:chExt cx="1420126" cy="1325020"/>
          </a:xfrm>
        </p:grpSpPr>
        <p:cxnSp>
          <p:nvCxnSpPr>
            <p:cNvPr id="224" name="Straight Connector 223"/>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225" name="Oval 224"/>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6"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27" name="Straight Connector 226"/>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228" name="Oval 227"/>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0" name="Straight Connector 229"/>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231" name="Oval 230"/>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2"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3" name="TextBox 232"/>
            <p:cNvSpPr txBox="1"/>
            <p:nvPr/>
          </p:nvSpPr>
          <p:spPr>
            <a:xfrm>
              <a:off x="6320820" y="4002328"/>
              <a:ext cx="1129540"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KEY-VALUE</a:t>
              </a:r>
            </a:p>
          </p:txBody>
        </p:sp>
      </p:grpSp>
      <p:grpSp>
        <p:nvGrpSpPr>
          <p:cNvPr id="6" name="Group 5"/>
          <p:cNvGrpSpPr/>
          <p:nvPr/>
        </p:nvGrpSpPr>
        <p:grpSpPr>
          <a:xfrm>
            <a:off x="8773142" y="3420744"/>
            <a:ext cx="1683153" cy="1008359"/>
            <a:chOff x="9255136" y="3332523"/>
            <a:chExt cx="1683153" cy="1008359"/>
          </a:xfrm>
        </p:grpSpPr>
        <p:cxnSp>
          <p:nvCxnSpPr>
            <p:cNvPr id="218" name="Straight Connector 2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219" name="Oval 2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3" name="TextBox 222"/>
            <p:cNvSpPr txBox="1"/>
            <p:nvPr/>
          </p:nvSpPr>
          <p:spPr>
            <a:xfrm>
              <a:off x="9255136" y="4002328"/>
              <a:ext cx="1683153"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COLUMN-FAMILY</a:t>
              </a:r>
            </a:p>
          </p:txBody>
        </p:sp>
      </p:grpSp>
      <p:grpSp>
        <p:nvGrpSpPr>
          <p:cNvPr id="8" name="Group 7"/>
          <p:cNvGrpSpPr/>
          <p:nvPr/>
        </p:nvGrpSpPr>
        <p:grpSpPr>
          <a:xfrm>
            <a:off x="6675588" y="4837642"/>
            <a:ext cx="1209627" cy="1476876"/>
            <a:chOff x="6320820" y="4918446"/>
            <a:chExt cx="1209627" cy="1476876"/>
          </a:xfrm>
        </p:grpSpPr>
        <p:cxnSp>
          <p:nvCxnSpPr>
            <p:cNvPr id="204" name="Straight Connector 203"/>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5" name="Straight Connector 204"/>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6" name="Oval 205"/>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07" name="Straight Connector 206"/>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08" name="Straight Connector 207"/>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09" name="Oval 208"/>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0" name="Oval 209"/>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1" name="Straight Connector 210"/>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2" name="Oval 211"/>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13" name="Straight Connector 212"/>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14" name="Oval 213"/>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5" name="Oval 214"/>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6" name="Oval 215"/>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latin typeface="Segoe UI"/>
                <a:ea typeface="+mn-ea"/>
                <a:cs typeface="+mn-cs"/>
              </a:endParaRPr>
            </a:p>
          </p:txBody>
        </p:sp>
        <p:sp>
          <p:nvSpPr>
            <p:cNvPr id="217" name="TextBox 216"/>
            <p:cNvSpPr txBox="1"/>
            <p:nvPr/>
          </p:nvSpPr>
          <p:spPr>
            <a:xfrm>
              <a:off x="6320820" y="6056768"/>
              <a:ext cx="1209627"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DOCUMENT</a:t>
              </a:r>
            </a:p>
          </p:txBody>
        </p:sp>
      </p:grpSp>
      <p:grpSp>
        <p:nvGrpSpPr>
          <p:cNvPr id="7" name="Group 6"/>
          <p:cNvGrpSpPr/>
          <p:nvPr/>
        </p:nvGrpSpPr>
        <p:grpSpPr>
          <a:xfrm>
            <a:off x="8802609" y="4955119"/>
            <a:ext cx="1360428" cy="1359399"/>
            <a:chOff x="9255136" y="5035923"/>
            <a:chExt cx="1360428" cy="1359399"/>
          </a:xfrm>
        </p:grpSpPr>
        <p:sp>
          <p:nvSpPr>
            <p:cNvPr id="195" name="Oval 194"/>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6" name="Oval 195"/>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Oval 196"/>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8" name="Oval 197"/>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9" name="Straight Connector 198"/>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0" name="Straight Connector 199"/>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1" name="Straight Connector 200"/>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202" name="Straight Connector 201"/>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203" name="TextBox 202"/>
            <p:cNvSpPr txBox="1"/>
            <p:nvPr/>
          </p:nvSpPr>
          <p:spPr>
            <a:xfrm>
              <a:off x="9255136" y="6056768"/>
              <a:ext cx="751168"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B4D9"/>
                  </a:solidFill>
                  <a:effectLst/>
                  <a:uLnTx/>
                  <a:uFillTx/>
                  <a:latin typeface="Segoe UI" charset="0"/>
                  <a:ea typeface="Segoe UI" charset="0"/>
                  <a:cs typeface="Segoe UI" charset="0"/>
                </a:rPr>
                <a:t>GRAPH</a:t>
              </a:r>
            </a:p>
          </p:txBody>
        </p:sp>
      </p:grpSp>
      <p:sp>
        <p:nvSpPr>
          <p:cNvPr id="56" name="Content Placeholder 2">
            <a:extLst>
              <a:ext uri="{FF2B5EF4-FFF2-40B4-BE49-F238E27FC236}">
                <a16:creationId xmlns:a16="http://schemas.microsoft.com/office/drawing/2014/main" id="{2512957E-7455-4FA5-98A2-F656EC6B038E}"/>
              </a:ext>
            </a:extLst>
          </p:cNvPr>
          <p:cNvSpPr txBox="1">
            <a:spLocks/>
          </p:cNvSpPr>
          <p:nvPr/>
        </p:nvSpPr>
        <p:spPr>
          <a:xfrm>
            <a:off x="557584" y="3884047"/>
            <a:ext cx="4024313" cy="369888"/>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Guaranteed single-digit latency</a:t>
            </a:r>
          </a:p>
        </p:txBody>
      </p:sp>
      <p:sp>
        <p:nvSpPr>
          <p:cNvPr id="58" name="Content Placeholder 2">
            <a:extLst>
              <a:ext uri="{FF2B5EF4-FFF2-40B4-BE49-F238E27FC236}">
                <a16:creationId xmlns:a16="http://schemas.microsoft.com/office/drawing/2014/main" id="{AA43F1EF-A2F5-4CC4-9108-8C7833B2ADEE}"/>
              </a:ext>
            </a:extLst>
          </p:cNvPr>
          <p:cNvSpPr txBox="1">
            <a:spLocks/>
          </p:cNvSpPr>
          <p:nvPr/>
        </p:nvSpPr>
        <p:spPr>
          <a:xfrm>
            <a:off x="544823" y="3081331"/>
            <a:ext cx="2371725" cy="36988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lastic scale-out</a:t>
            </a:r>
          </a:p>
        </p:txBody>
      </p:sp>
      <p:sp>
        <p:nvSpPr>
          <p:cNvPr id="59" name="Content Placeholder 2">
            <a:extLst>
              <a:ext uri="{FF2B5EF4-FFF2-40B4-BE49-F238E27FC236}">
                <a16:creationId xmlns:a16="http://schemas.microsoft.com/office/drawing/2014/main" id="{F99CA964-ADBB-4A3F-A4B6-C5E2F651FF1B}"/>
              </a:ext>
            </a:extLst>
          </p:cNvPr>
          <p:cNvSpPr txBox="1">
            <a:spLocks/>
          </p:cNvSpPr>
          <p:nvPr/>
        </p:nvSpPr>
        <p:spPr>
          <a:xfrm>
            <a:off x="597790" y="4605493"/>
            <a:ext cx="2989263"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Choice of consistency</a:t>
            </a:r>
          </a:p>
        </p:txBody>
      </p:sp>
      <p:sp>
        <p:nvSpPr>
          <p:cNvPr id="60" name="Content Placeholder 2">
            <a:extLst>
              <a:ext uri="{FF2B5EF4-FFF2-40B4-BE49-F238E27FC236}">
                <a16:creationId xmlns:a16="http://schemas.microsoft.com/office/drawing/2014/main" id="{FB19895F-E6A0-4B44-B33F-C920BCD9EE27}"/>
              </a:ext>
            </a:extLst>
          </p:cNvPr>
          <p:cNvSpPr txBox="1">
            <a:spLocks/>
          </p:cNvSpPr>
          <p:nvPr/>
        </p:nvSpPr>
        <p:spPr>
          <a:xfrm>
            <a:off x="544823" y="5370482"/>
            <a:ext cx="2890838" cy="368300"/>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9B4D9"/>
                </a:solidFill>
                <a:effectLst/>
                <a:uLnTx/>
                <a:uFillTx/>
                <a:latin typeface="Segoe UI" charset="0"/>
                <a:ea typeface="Segoe UI" charset="0"/>
                <a:cs typeface="Segoe UI" charset="0"/>
              </a:rPr>
              <a:t>Enterprise-level SLAs</a:t>
            </a:r>
          </a:p>
        </p:txBody>
      </p:sp>
      <p:grpSp>
        <p:nvGrpSpPr>
          <p:cNvPr id="61" name="Group 60">
            <a:extLst>
              <a:ext uri="{FF2B5EF4-FFF2-40B4-BE49-F238E27FC236}">
                <a16:creationId xmlns:a16="http://schemas.microsoft.com/office/drawing/2014/main" id="{72CDC2B7-3E22-4DA3-B5F7-F1D012B49B72}"/>
              </a:ext>
            </a:extLst>
          </p:cNvPr>
          <p:cNvGrpSpPr/>
          <p:nvPr/>
        </p:nvGrpSpPr>
        <p:grpSpPr>
          <a:xfrm>
            <a:off x="49277" y="3879371"/>
            <a:ext cx="442013" cy="299377"/>
            <a:chOff x="6082249" y="5559189"/>
            <a:chExt cx="564210" cy="382141"/>
          </a:xfrm>
          <a:solidFill>
            <a:schemeClr val="accent6"/>
          </a:solidFill>
        </p:grpSpPr>
        <p:sp>
          <p:nvSpPr>
            <p:cNvPr id="62" name="Isosceles Triangle 31">
              <a:extLst>
                <a:ext uri="{FF2B5EF4-FFF2-40B4-BE49-F238E27FC236}">
                  <a16:creationId xmlns:a16="http://schemas.microsoft.com/office/drawing/2014/main" id="{0B4F7C44-E0BC-4C01-8AEC-91D812E0B540}"/>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69F49C36-9DDA-4F3A-AA07-06E621201E2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92C025B7-7392-4905-BD4D-CD4751EA66C4}"/>
              </a:ext>
            </a:extLst>
          </p:cNvPr>
          <p:cNvGrpSpPr/>
          <p:nvPr/>
        </p:nvGrpSpPr>
        <p:grpSpPr>
          <a:xfrm>
            <a:off x="49277" y="5443436"/>
            <a:ext cx="442013" cy="299377"/>
            <a:chOff x="6082249" y="5559189"/>
            <a:chExt cx="564210" cy="382141"/>
          </a:xfrm>
          <a:solidFill>
            <a:schemeClr val="accent6"/>
          </a:solidFill>
        </p:grpSpPr>
        <p:sp>
          <p:nvSpPr>
            <p:cNvPr id="65" name="Isosceles Triangle 31">
              <a:extLst>
                <a:ext uri="{FF2B5EF4-FFF2-40B4-BE49-F238E27FC236}">
                  <a16:creationId xmlns:a16="http://schemas.microsoft.com/office/drawing/2014/main" id="{0F762D8E-9289-4737-8C4C-543C01B8EEB1}"/>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77123BA-2C6A-41CE-9E0B-E169EA7F06A1}"/>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E9C785D3-1183-4F82-B545-3EF3236FE937}"/>
              </a:ext>
            </a:extLst>
          </p:cNvPr>
          <p:cNvGrpSpPr/>
          <p:nvPr/>
        </p:nvGrpSpPr>
        <p:grpSpPr>
          <a:xfrm>
            <a:off x="63331" y="4642157"/>
            <a:ext cx="442013" cy="299377"/>
            <a:chOff x="6082249" y="5559189"/>
            <a:chExt cx="564210" cy="382141"/>
          </a:xfrm>
          <a:solidFill>
            <a:schemeClr val="accent6"/>
          </a:solidFill>
        </p:grpSpPr>
        <p:sp>
          <p:nvSpPr>
            <p:cNvPr id="68" name="Isosceles Triangle 31">
              <a:extLst>
                <a:ext uri="{FF2B5EF4-FFF2-40B4-BE49-F238E27FC236}">
                  <a16:creationId xmlns:a16="http://schemas.microsoft.com/office/drawing/2014/main" id="{F8D76492-99DB-4F58-9BBF-BB1851FD3838}"/>
                </a:ext>
              </a:extLst>
            </p:cNvPr>
            <p:cNvSpPr/>
            <p:nvPr/>
          </p:nvSpPr>
          <p:spPr bwMode="auto">
            <a:xfrm rot="5400000">
              <a:off x="6359855" y="5654725"/>
              <a:ext cx="382140" cy="191069"/>
            </a:xfrm>
            <a:prstGeom prst="triangle">
              <a:avLst>
                <a:gd name="adj" fmla="val 498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095B2118-BF7D-4417-84C5-54A2C8C83086}"/>
                </a:ext>
              </a:extLst>
            </p:cNvPr>
            <p:cNvSpPr/>
            <p:nvPr/>
          </p:nvSpPr>
          <p:spPr bwMode="auto">
            <a:xfrm>
              <a:off x="6082249" y="5559189"/>
              <a:ext cx="373140" cy="38214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70AD47"/>
                </a:solidFill>
                <a:effectLst/>
                <a:uLnTx/>
                <a:uFillTx/>
                <a:latin typeface="Segoe UI"/>
                <a:ea typeface="Segoe UI" pitchFamily="34" charset="0"/>
                <a:cs typeface="Segoe UI" pitchFamily="34" charset="0"/>
              </a:endParaRPr>
            </a:p>
          </p:txBody>
        </p:sp>
      </p:grpSp>
      <p:pic>
        <p:nvPicPr>
          <p:cNvPr id="2" name="Picture 1">
            <a:extLst>
              <a:ext uri="{FF2B5EF4-FFF2-40B4-BE49-F238E27FC236}">
                <a16:creationId xmlns:a16="http://schemas.microsoft.com/office/drawing/2014/main" id="{1577C5F3-1B1D-4B40-89B3-9FA52D60C58F}"/>
              </a:ext>
            </a:extLst>
          </p:cNvPr>
          <p:cNvPicPr>
            <a:picLocks noChangeAspect="1"/>
          </p:cNvPicPr>
          <p:nvPr/>
        </p:nvPicPr>
        <p:blipFill>
          <a:blip r:embed="rId3"/>
          <a:stretch>
            <a:fillRect/>
          </a:stretch>
        </p:blipFill>
        <p:spPr>
          <a:xfrm>
            <a:off x="54471" y="3142936"/>
            <a:ext cx="445047" cy="298730"/>
          </a:xfrm>
          <a:prstGeom prst="rect">
            <a:avLst/>
          </a:prstGeom>
        </p:spPr>
      </p:pic>
    </p:spTree>
    <p:extLst>
      <p:ext uri="{BB962C8B-B14F-4D97-AF65-F5344CB8AC3E}">
        <p14:creationId xmlns:p14="http://schemas.microsoft.com/office/powerpoint/2010/main" val="24049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SQL Database Managed Instance</a:t>
            </a:r>
          </a:p>
        </p:txBody>
      </p:sp>
    </p:spTree>
    <p:extLst>
      <p:ext uri="{BB962C8B-B14F-4D97-AF65-F5344CB8AC3E}">
        <p14:creationId xmlns:p14="http://schemas.microsoft.com/office/powerpoint/2010/main" val="312072588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699478"/>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dirty="0">
                <a:solidFill>
                  <a:schemeClr val="tx2"/>
                </a:solidFill>
                <a:ea typeface="Segoe UI Semilight" charset="0"/>
                <a:cs typeface="Segoe UI Semilight" charset="0"/>
              </a:rPr>
              <a:t>Introducing Azure SQL Database Managed Instance</a:t>
            </a:r>
          </a:p>
        </p:txBody>
      </p:sp>
      <p:sp>
        <p:nvSpPr>
          <p:cNvPr id="8" name="TextBox 7">
            <a:extLst>
              <a:ext uri="{FF2B5EF4-FFF2-40B4-BE49-F238E27FC236}">
                <a16:creationId xmlns:a16="http://schemas.microsoft.com/office/drawing/2014/main" id="{A2BC0021-1F4D-45DA-A577-5FEBFC1D363F}"/>
              </a:ext>
            </a:extLst>
          </p:cNvPr>
          <p:cNvSpPr txBox="1"/>
          <p:nvPr/>
        </p:nvSpPr>
        <p:spPr>
          <a:xfrm>
            <a:off x="269239" y="2342590"/>
            <a:ext cx="4893069" cy="34778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Managed In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Instance scoped programming model with high compatibility to on-premises datab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Single</a:t>
            </a:r>
            <a:endParaRPr kumimoji="0" lang="en-US" sz="2000" b="1"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tandalone managed database best for predictable and stable worklo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Elastic p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mn-cs"/>
              </a:rPr>
              <a:t>Shared resource model best for greater efficiency through multi-tenancy </a:t>
            </a:r>
          </a:p>
        </p:txBody>
      </p:sp>
      <p:sp>
        <p:nvSpPr>
          <p:cNvPr id="12" name="Arrow: Right 11">
            <a:extLst>
              <a:ext uri="{FF2B5EF4-FFF2-40B4-BE49-F238E27FC236}">
                <a16:creationId xmlns:a16="http://schemas.microsoft.com/office/drawing/2014/main" id="{EACDFCA1-DB0A-4879-8FAF-01037634D955}"/>
              </a:ext>
            </a:extLst>
          </p:cNvPr>
          <p:cNvSpPr/>
          <p:nvPr/>
        </p:nvSpPr>
        <p:spPr>
          <a:xfrm>
            <a:off x="5790908" y="2342590"/>
            <a:ext cx="587828" cy="1175657"/>
          </a:xfrm>
          <a:custGeom>
            <a:avLst/>
            <a:gdLst>
              <a:gd name="connsiteX0" fmla="*/ 0 w 1184711"/>
              <a:gd name="connsiteY0" fmla="*/ 0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7" fmla="*/ 0 w 1184711"/>
              <a:gd name="connsiteY7" fmla="*/ 0 h 117565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0" fmla="*/ 0 w 1184711"/>
              <a:gd name="connsiteY0" fmla="*/ 1175657 h 1267097"/>
              <a:gd name="connsiteX1" fmla="*/ 596883 w 1184711"/>
              <a:gd name="connsiteY1" fmla="*/ 0 h 1267097"/>
              <a:gd name="connsiteX2" fmla="*/ 596883 w 1184711"/>
              <a:gd name="connsiteY2" fmla="*/ 0 h 1267097"/>
              <a:gd name="connsiteX3" fmla="*/ 1184711 w 1184711"/>
              <a:gd name="connsiteY3" fmla="*/ 587829 h 1267097"/>
              <a:gd name="connsiteX4" fmla="*/ 596883 w 1184711"/>
              <a:gd name="connsiteY4" fmla="*/ 1175657 h 1267097"/>
              <a:gd name="connsiteX5" fmla="*/ 596883 w 1184711"/>
              <a:gd name="connsiteY5" fmla="*/ 1175657 h 1267097"/>
              <a:gd name="connsiteX6" fmla="*/ 91440 w 1184711"/>
              <a:gd name="connsiteY6" fmla="*/ 1267097 h 126709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0" fmla="*/ 0 w 587828"/>
              <a:gd name="connsiteY0" fmla="*/ 0 h 1175657"/>
              <a:gd name="connsiteX1" fmla="*/ 0 w 587828"/>
              <a:gd name="connsiteY1" fmla="*/ 0 h 1175657"/>
              <a:gd name="connsiteX2" fmla="*/ 587828 w 587828"/>
              <a:gd name="connsiteY2" fmla="*/ 587829 h 1175657"/>
              <a:gd name="connsiteX3" fmla="*/ 0 w 587828"/>
              <a:gd name="connsiteY3" fmla="*/ 1175657 h 1175657"/>
              <a:gd name="connsiteX4" fmla="*/ 0 w 587828"/>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1175657">
                <a:moveTo>
                  <a:pt x="0" y="0"/>
                </a:moveTo>
                <a:lnTo>
                  <a:pt x="0" y="0"/>
                </a:lnTo>
                <a:lnTo>
                  <a:pt x="587828" y="587829"/>
                </a:lnTo>
                <a:lnTo>
                  <a:pt x="0" y="1175657"/>
                </a:lnTo>
                <a:lnTo>
                  <a:pt x="0" y="1175657"/>
                </a:lnTo>
              </a:path>
            </a:pathLst>
          </a:custGeom>
          <a:ln w="12700">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itle 1">
            <a:extLst>
              <a:ext uri="{FF2B5EF4-FFF2-40B4-BE49-F238E27FC236}">
                <a16:creationId xmlns:a16="http://schemas.microsoft.com/office/drawing/2014/main" id="{4ACA9AB0-87AF-44C0-A3AB-1771FF3438D0}"/>
              </a:ext>
            </a:extLst>
          </p:cNvPr>
          <p:cNvSpPr txBox="1">
            <a:spLocks/>
          </p:cNvSpPr>
          <p:nvPr/>
        </p:nvSpPr>
        <p:spPr>
          <a:xfrm>
            <a:off x="6870892" y="2502584"/>
            <a:ext cx="3480472" cy="707886"/>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Best for modernization at scale with low cost and effort</a:t>
            </a:r>
          </a:p>
        </p:txBody>
      </p:sp>
    </p:spTree>
    <p:extLst>
      <p:ext uri="{BB962C8B-B14F-4D97-AF65-F5344CB8AC3E}">
        <p14:creationId xmlns:p14="http://schemas.microsoft.com/office/powerpoint/2010/main" val="326457658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2">
                    <a:lumMod val="50000"/>
                  </a:schemeClr>
                </a:solidFill>
              </a:rPr>
              <a:t>What is SQL Database Managed Instance?</a:t>
            </a:r>
          </a:p>
        </p:txBody>
      </p:sp>
      <p:grpSp>
        <p:nvGrpSpPr>
          <p:cNvPr id="17" name="Group 16"/>
          <p:cNvGrpSpPr/>
          <p:nvPr/>
        </p:nvGrpSpPr>
        <p:grpSpPr>
          <a:xfrm>
            <a:off x="240163" y="3414941"/>
            <a:ext cx="2476499" cy="3043655"/>
            <a:chOff x="244978" y="3482920"/>
            <a:chExt cx="2526158" cy="3104687"/>
          </a:xfrm>
        </p:grpSpPr>
        <p:sp>
          <p:nvSpPr>
            <p:cNvPr id="11" name="Freeform: Shape 10"/>
            <p:cNvSpPr/>
            <p:nvPr/>
          </p:nvSpPr>
          <p:spPr>
            <a:xfrm>
              <a:off x="244978"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Easy lift and shift</a:t>
              </a:r>
            </a:p>
          </p:txBody>
        </p:sp>
        <p:sp>
          <p:nvSpPr>
            <p:cNvPr id="12" name="Freeform: Shape 11"/>
            <p:cNvSpPr/>
            <p:nvPr/>
          </p:nvSpPr>
          <p:spPr>
            <a:xfrm>
              <a:off x="244978"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ully-fledged SQL instance with nearly 100% compat with on-prem</a:t>
              </a:r>
            </a:p>
          </p:txBody>
        </p:sp>
      </p:grpSp>
      <p:grpSp>
        <p:nvGrpSpPr>
          <p:cNvPr id="18" name="Group 17"/>
          <p:cNvGrpSpPr/>
          <p:nvPr/>
        </p:nvGrpSpPr>
        <p:grpSpPr>
          <a:xfrm>
            <a:off x="3063373" y="3414941"/>
            <a:ext cx="2476499" cy="3043655"/>
            <a:chOff x="3124800" y="3482920"/>
            <a:chExt cx="2526158" cy="3104687"/>
          </a:xfrm>
        </p:grpSpPr>
        <p:sp>
          <p:nvSpPr>
            <p:cNvPr id="13" name="Freeform: Shape 12"/>
            <p:cNvSpPr/>
            <p:nvPr/>
          </p:nvSpPr>
          <p:spPr>
            <a:xfrm>
              <a:off x="3124800"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2"/>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y managed PaaS</a:t>
              </a:r>
            </a:p>
          </p:txBody>
        </p:sp>
        <p:sp>
          <p:nvSpPr>
            <p:cNvPr id="14" name="Freeform: Shape 13"/>
            <p:cNvSpPr/>
            <p:nvPr/>
          </p:nvSpPr>
          <p:spPr>
            <a:xfrm>
              <a:off x="3124800"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Built on the same PaaS service infrastructur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All PaaS features</a:t>
              </a:r>
            </a:p>
          </p:txBody>
        </p:sp>
      </p:grpSp>
      <p:grpSp>
        <p:nvGrpSpPr>
          <p:cNvPr id="19" name="Group 18"/>
          <p:cNvGrpSpPr/>
          <p:nvPr/>
        </p:nvGrpSpPr>
        <p:grpSpPr>
          <a:xfrm>
            <a:off x="5886583" y="3414941"/>
            <a:ext cx="2476499" cy="3043655"/>
            <a:chOff x="6004621" y="3482920"/>
            <a:chExt cx="2526158" cy="3104687"/>
          </a:xfrm>
        </p:grpSpPr>
        <p:sp>
          <p:nvSpPr>
            <p:cNvPr id="15" name="Freeform: Shape 14"/>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3"/>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Full isolation and security</a:t>
              </a:r>
            </a:p>
          </p:txBody>
        </p:sp>
        <p:sp>
          <p:nvSpPr>
            <p:cNvPr id="16" name="Freeform: Shape 15"/>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Native VNET implementation</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Private IP addresses</a:t>
              </a:r>
            </a:p>
          </p:txBody>
        </p:sp>
      </p:grpSp>
      <p:sp>
        <p:nvSpPr>
          <p:cNvPr id="4" name="Rectangle 3"/>
          <p:cNvSpPr/>
          <p:nvPr/>
        </p:nvSpPr>
        <p:spPr>
          <a:xfrm>
            <a:off x="183273" y="1400432"/>
            <a:ext cx="4417522" cy="9956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A flavor of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SQL DB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designed to enable </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easy migration to fully managed PaaS</a:t>
            </a:r>
            <a:r>
              <a:rPr kumimoji="0" lang="en-US" sz="1961" b="1" i="0" u="none" strike="noStrike" kern="1200" cap="none" spc="0" normalizeH="0" baseline="0" noProof="0" dirty="0">
                <a:ln>
                  <a:noFill/>
                </a:ln>
                <a:solidFill>
                  <a:srgbClr val="E6E6E6">
                    <a:lumMod val="50000"/>
                  </a:srgbClr>
                </a:solidFill>
                <a:effectLst/>
                <a:uLnTx/>
                <a:uFillTx/>
                <a:latin typeface="Segoe UI Semilight"/>
                <a:ea typeface="+mn-ea"/>
                <a:cs typeface="+mn-cs"/>
              </a:rPr>
              <a:t>, for almost any application!</a:t>
            </a:r>
            <a:endParaRPr kumimoji="0" lang="en-US" sz="1961" b="0" i="0" u="none" strike="noStrike" kern="1200" cap="none" spc="0" normalizeH="0" baseline="0" noProof="0" dirty="0">
              <a:ln>
                <a:noFill/>
              </a:ln>
              <a:solidFill>
                <a:srgbClr val="E6E6E6">
                  <a:lumMod val="50000"/>
                </a:srgbClr>
              </a:solidFill>
              <a:effectLst/>
              <a:uLnTx/>
              <a:uFillTx/>
              <a:latin typeface="Segoe UI Semilight"/>
              <a:ea typeface="+mn-ea"/>
              <a:cs typeface="+mn-cs"/>
            </a:endParaRPr>
          </a:p>
        </p:txBody>
      </p:sp>
      <p:grpSp>
        <p:nvGrpSpPr>
          <p:cNvPr id="35" name="Group 34">
            <a:extLst>
              <a:ext uri="{FF2B5EF4-FFF2-40B4-BE49-F238E27FC236}">
                <a16:creationId xmlns:a16="http://schemas.microsoft.com/office/drawing/2014/main" id="{7B4AD045-5525-4FBA-B949-DD57F11E5D69}"/>
              </a:ext>
            </a:extLst>
          </p:cNvPr>
          <p:cNvGrpSpPr/>
          <p:nvPr/>
        </p:nvGrpSpPr>
        <p:grpSpPr>
          <a:xfrm>
            <a:off x="8005576" y="1139929"/>
            <a:ext cx="2122899" cy="626316"/>
            <a:chOff x="7329370" y="1151663"/>
            <a:chExt cx="2165468" cy="638875"/>
          </a:xfrm>
        </p:grpSpPr>
        <p:sp>
          <p:nvSpPr>
            <p:cNvPr id="21" name="Freeform: Shape 20">
              <a:extLst>
                <a:ext uri="{FF2B5EF4-FFF2-40B4-BE49-F238E27FC236}">
                  <a16:creationId xmlns:a16="http://schemas.microsoft.com/office/drawing/2014/main" id="{377C2CD8-3C53-49DA-8116-D6AF5B9D6005}"/>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00BBF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3" name="Flowchart: Manual Input 2">
              <a:extLst>
                <a:ext uri="{FF2B5EF4-FFF2-40B4-BE49-F238E27FC236}">
                  <a16:creationId xmlns:a16="http://schemas.microsoft.com/office/drawing/2014/main" id="{11FF146D-2CEF-4E50-AC3D-14204EA68BD0}"/>
                </a:ext>
              </a:extLst>
            </p:cNvPr>
            <p:cNvSpPr/>
            <p:nvPr/>
          </p:nvSpPr>
          <p:spPr bwMode="auto">
            <a:xfrm rot="16200000" flipH="1">
              <a:off x="8551151" y="846851"/>
              <a:ext cx="638875" cy="1248499"/>
            </a:xfrm>
            <a:prstGeom prst="flowChartManualInput">
              <a:avLst/>
            </a:prstGeom>
            <a:solidFill>
              <a:srgbClr val="66D6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EFF1B302-24FD-453D-BB86-8122F09EFF0A}"/>
                </a:ext>
              </a:extLst>
            </p:cNvPr>
            <p:cNvSpPr/>
            <p:nvPr/>
          </p:nvSpPr>
          <p:spPr>
            <a:xfrm>
              <a:off x="7910141" y="1151663"/>
              <a:ext cx="1584697"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SQL Database </a:t>
              </a:r>
              <a:r>
                <a:rPr kumimoji="0" lang="en-US" sz="1765" b="0" i="0" u="none" strike="noStrike" kern="1200" cap="none" spc="0" normalizeH="0" baseline="0" noProof="0" dirty="0">
                  <a:ln>
                    <a:noFill/>
                  </a:ln>
                  <a:solidFill>
                    <a:srgbClr val="005E78"/>
                  </a:solidFill>
                  <a:effectLst/>
                  <a:uLnTx/>
                  <a:uFillTx/>
                  <a:latin typeface="Segoe UI" panose="020B0502040204020203" pitchFamily="34" charset="0"/>
                  <a:ea typeface="+mn-ea"/>
                  <a:cs typeface="Segoe UI" panose="020B0502040204020203" pitchFamily="34" charset="0"/>
                </a:rPr>
                <a:t>(PaaS)</a:t>
              </a:r>
            </a:p>
          </p:txBody>
        </p:sp>
        <p:graphicFrame>
          <p:nvGraphicFramePr>
            <p:cNvPr id="34" name="Object 33">
              <a:extLst>
                <a:ext uri="{FF2B5EF4-FFF2-40B4-BE49-F238E27FC236}">
                  <a16:creationId xmlns:a16="http://schemas.microsoft.com/office/drawing/2014/main" id="{653EA2F9-490A-4EAB-BD5C-5E63E3B50C5F}"/>
                </a:ext>
              </a:extLst>
            </p:cNvPr>
            <p:cNvGraphicFramePr>
              <a:graphicFrameLocks noChangeAspect="1"/>
            </p:cNvGraphicFramePr>
            <p:nvPr>
              <p:extLst/>
            </p:nvPr>
          </p:nvGraphicFramePr>
          <p:xfrm>
            <a:off x="7389065" y="1182056"/>
            <a:ext cx="432066" cy="577511"/>
          </p:xfrm>
          <a:graphic>
            <a:graphicData uri="http://schemas.openxmlformats.org/presentationml/2006/ole">
              <mc:AlternateContent xmlns:mc="http://schemas.openxmlformats.org/markup-compatibility/2006">
                <mc:Choice xmlns:v="urn:schemas-microsoft-com:vml" Requires="v">
                  <p:oleObj spid="_x0000_s4098" name="CorelDRAW" r:id="rId4" imgW="160518" imgH="214312" progId="CorelDraw.Graphic.17">
                    <p:embed/>
                  </p:oleObj>
                </mc:Choice>
                <mc:Fallback>
                  <p:oleObj name="CorelDRAW" r:id="rId4" imgW="160518" imgH="214312" progId="CorelDraw.Graphic.17">
                    <p:embed/>
                    <p:pic>
                      <p:nvPicPr>
                        <p:cNvPr id="34" name="Object 33">
                          <a:extLst>
                            <a:ext uri="{FF2B5EF4-FFF2-40B4-BE49-F238E27FC236}">
                              <a16:creationId xmlns:a16="http://schemas.microsoft.com/office/drawing/2014/main" id="{653EA2F9-490A-4EAB-BD5C-5E63E3B50C5F}"/>
                            </a:ext>
                          </a:extLst>
                        </p:cNvPr>
                        <p:cNvPicPr/>
                        <p:nvPr/>
                      </p:nvPicPr>
                      <p:blipFill>
                        <a:blip r:embed="rId5"/>
                        <a:stretch>
                          <a:fillRect/>
                        </a:stretch>
                      </p:blipFill>
                      <p:spPr>
                        <a:xfrm>
                          <a:off x="7389065" y="1182056"/>
                          <a:ext cx="432066" cy="577511"/>
                        </a:xfrm>
                        <a:prstGeom prst="rect">
                          <a:avLst/>
                        </a:prstGeom>
                      </p:spPr>
                    </p:pic>
                  </p:oleObj>
                </mc:Fallback>
              </mc:AlternateContent>
            </a:graphicData>
          </a:graphic>
        </p:graphicFrame>
      </p:grpSp>
      <p:grpSp>
        <p:nvGrpSpPr>
          <p:cNvPr id="54" name="Group 53">
            <a:extLst>
              <a:ext uri="{FF2B5EF4-FFF2-40B4-BE49-F238E27FC236}">
                <a16:creationId xmlns:a16="http://schemas.microsoft.com/office/drawing/2014/main" id="{231F6C02-27DD-4267-8430-32FAACF3B6E7}"/>
              </a:ext>
            </a:extLst>
          </p:cNvPr>
          <p:cNvGrpSpPr/>
          <p:nvPr/>
        </p:nvGrpSpPr>
        <p:grpSpPr>
          <a:xfrm>
            <a:off x="10243524" y="2383171"/>
            <a:ext cx="1511098" cy="626317"/>
            <a:chOff x="9231076" y="4542176"/>
            <a:chExt cx="1541399" cy="638876"/>
          </a:xfrm>
        </p:grpSpPr>
        <p:sp>
          <p:nvSpPr>
            <p:cNvPr id="55" name="Freeform: Shape 54">
              <a:extLst>
                <a:ext uri="{FF2B5EF4-FFF2-40B4-BE49-F238E27FC236}">
                  <a16:creationId xmlns:a16="http://schemas.microsoft.com/office/drawing/2014/main" id="{60705766-D494-40A8-910D-42F0A7A3172B}"/>
                </a:ext>
              </a:extLst>
            </p:cNvPr>
            <p:cNvSpPr/>
            <p:nvPr/>
          </p:nvSpPr>
          <p:spPr>
            <a:xfrm>
              <a:off x="9231076" y="4542176"/>
              <a:ext cx="154139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B9D712"/>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56" name="Flowchart: Manual Input 55">
              <a:extLst>
                <a:ext uri="{FF2B5EF4-FFF2-40B4-BE49-F238E27FC236}">
                  <a16:creationId xmlns:a16="http://schemas.microsoft.com/office/drawing/2014/main" id="{B159995D-7582-47B7-829E-17F75FF5D803}"/>
                </a:ext>
              </a:extLst>
            </p:cNvPr>
            <p:cNvSpPr/>
            <p:nvPr/>
          </p:nvSpPr>
          <p:spPr bwMode="auto">
            <a:xfrm rot="16200000" flipH="1">
              <a:off x="9995838" y="4404415"/>
              <a:ext cx="638875" cy="914399"/>
            </a:xfrm>
            <a:prstGeom prst="flowChartManualInput">
              <a:avLst/>
            </a:prstGeom>
            <a:solidFill>
              <a:srgbClr val="D5E8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CBE8E591-2C91-4940-81C1-52317CD122F3}"/>
                </a:ext>
              </a:extLst>
            </p:cNvPr>
            <p:cNvSpPr/>
            <p:nvPr/>
          </p:nvSpPr>
          <p:spPr>
            <a:xfrm>
              <a:off x="9936116" y="4542176"/>
              <a:ext cx="760159"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8AA10F"/>
                  </a:solidFill>
                  <a:effectLst/>
                  <a:uLnTx/>
                  <a:uFillTx/>
                  <a:latin typeface="Segoe UI" panose="020B0502040204020203" pitchFamily="34" charset="0"/>
                  <a:ea typeface="+mn-ea"/>
                  <a:cs typeface="Segoe UI" panose="020B0502040204020203" pitchFamily="34" charset="0"/>
                </a:rPr>
                <a:t>Elastic Pool</a:t>
              </a:r>
            </a:p>
          </p:txBody>
        </p:sp>
        <p:graphicFrame>
          <p:nvGraphicFramePr>
            <p:cNvPr id="58" name="Object 57">
              <a:extLst>
                <a:ext uri="{FF2B5EF4-FFF2-40B4-BE49-F238E27FC236}">
                  <a16:creationId xmlns:a16="http://schemas.microsoft.com/office/drawing/2014/main" id="{3797D1F3-E88B-48A4-80B7-70678886768F}"/>
                </a:ext>
              </a:extLst>
            </p:cNvPr>
            <p:cNvGraphicFramePr>
              <a:graphicFrameLocks noChangeAspect="1"/>
            </p:cNvGraphicFramePr>
            <p:nvPr>
              <p:extLst/>
            </p:nvPr>
          </p:nvGraphicFramePr>
          <p:xfrm>
            <a:off x="9291716" y="4616716"/>
            <a:ext cx="489794" cy="489794"/>
          </p:xfrm>
          <a:graphic>
            <a:graphicData uri="http://schemas.openxmlformats.org/presentationml/2006/ole">
              <mc:AlternateContent xmlns:mc="http://schemas.openxmlformats.org/markup-compatibility/2006">
                <mc:Choice xmlns:v="urn:schemas-microsoft-com:vml" Requires="v">
                  <p:oleObj spid="_x0000_s4099" name="CorelDRAW" r:id="rId6" imgW="376175" imgH="375965" progId="CorelDraw.Graphic.17">
                    <p:embed/>
                  </p:oleObj>
                </mc:Choice>
                <mc:Fallback>
                  <p:oleObj name="CorelDRAW" r:id="rId6" imgW="376175" imgH="375965" progId="CorelDraw.Graphic.17">
                    <p:embed/>
                    <p:pic>
                      <p:nvPicPr>
                        <p:cNvPr id="58" name="Object 57">
                          <a:extLst>
                            <a:ext uri="{FF2B5EF4-FFF2-40B4-BE49-F238E27FC236}">
                              <a16:creationId xmlns:a16="http://schemas.microsoft.com/office/drawing/2014/main" id="{3797D1F3-E88B-48A4-80B7-70678886768F}"/>
                            </a:ext>
                          </a:extLst>
                        </p:cNvPr>
                        <p:cNvPicPr/>
                        <p:nvPr/>
                      </p:nvPicPr>
                      <p:blipFill>
                        <a:blip r:embed="rId7"/>
                        <a:stretch>
                          <a:fillRect/>
                        </a:stretch>
                      </p:blipFill>
                      <p:spPr>
                        <a:xfrm>
                          <a:off x="9291716" y="4616716"/>
                          <a:ext cx="489794" cy="489794"/>
                        </a:xfrm>
                        <a:prstGeom prst="rect">
                          <a:avLst/>
                        </a:prstGeom>
                      </p:spPr>
                    </p:pic>
                  </p:oleObj>
                </mc:Fallback>
              </mc:AlternateContent>
            </a:graphicData>
          </a:graphic>
        </p:graphicFrame>
      </p:grpSp>
      <p:grpSp>
        <p:nvGrpSpPr>
          <p:cNvPr id="59" name="Group 58">
            <a:extLst>
              <a:ext uri="{FF2B5EF4-FFF2-40B4-BE49-F238E27FC236}">
                <a16:creationId xmlns:a16="http://schemas.microsoft.com/office/drawing/2014/main" id="{46D3ED8D-1420-4C82-80E8-219F94DA76A3}"/>
              </a:ext>
            </a:extLst>
          </p:cNvPr>
          <p:cNvGrpSpPr/>
          <p:nvPr/>
        </p:nvGrpSpPr>
        <p:grpSpPr>
          <a:xfrm>
            <a:off x="5757212" y="2383173"/>
            <a:ext cx="2122899" cy="626316"/>
            <a:chOff x="8994588" y="5097462"/>
            <a:chExt cx="2165468" cy="638875"/>
          </a:xfrm>
        </p:grpSpPr>
        <p:grpSp>
          <p:nvGrpSpPr>
            <p:cNvPr id="60" name="Group 59">
              <a:extLst>
                <a:ext uri="{FF2B5EF4-FFF2-40B4-BE49-F238E27FC236}">
                  <a16:creationId xmlns:a16="http://schemas.microsoft.com/office/drawing/2014/main" id="{AEE0A10F-3764-4FFC-A2F5-8282BDAA962C}"/>
                </a:ext>
              </a:extLst>
            </p:cNvPr>
            <p:cNvGrpSpPr/>
            <p:nvPr/>
          </p:nvGrpSpPr>
          <p:grpSpPr>
            <a:xfrm>
              <a:off x="8994588" y="5097462"/>
              <a:ext cx="2165468" cy="638875"/>
              <a:chOff x="7329370" y="1151663"/>
              <a:chExt cx="2165468" cy="638875"/>
            </a:xfrm>
          </p:grpSpPr>
          <p:sp>
            <p:nvSpPr>
              <p:cNvPr id="62" name="Freeform: Shape 61">
                <a:extLst>
                  <a:ext uri="{FF2B5EF4-FFF2-40B4-BE49-F238E27FC236}">
                    <a16:creationId xmlns:a16="http://schemas.microsoft.com/office/drawing/2014/main" id="{9EB29745-F340-426A-A3C5-39E8A5D24ED3}"/>
                  </a:ext>
                </a:extLst>
              </p:cNvPr>
              <p:cNvSpPr/>
              <p:nvPr/>
            </p:nvSpPr>
            <p:spPr>
              <a:xfrm>
                <a:off x="7329370" y="1151663"/>
                <a:ext cx="216546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9A5095"/>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3" name="Flowchart: Manual Input 62">
                <a:extLst>
                  <a:ext uri="{FF2B5EF4-FFF2-40B4-BE49-F238E27FC236}">
                    <a16:creationId xmlns:a16="http://schemas.microsoft.com/office/drawing/2014/main" id="{E68017CE-3E61-41A9-91E2-289AAE222896}"/>
                  </a:ext>
                </a:extLst>
              </p:cNvPr>
              <p:cNvSpPr/>
              <p:nvPr/>
            </p:nvSpPr>
            <p:spPr bwMode="auto">
              <a:xfrm rot="16200000" flipH="1">
                <a:off x="8551151" y="846851"/>
                <a:ext cx="638875" cy="1248499"/>
              </a:xfrm>
              <a:prstGeom prst="flowChartManualInput">
                <a:avLst/>
              </a:prstGeom>
              <a:solidFill>
                <a:srgbClr val="A379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931803B3-26A5-4558-923B-8C6D8F0F11BC}"/>
                  </a:ext>
                </a:extLst>
              </p:cNvPr>
              <p:cNvSpPr/>
              <p:nvPr/>
            </p:nvSpPr>
            <p:spPr>
              <a:xfrm>
                <a:off x="8034410" y="1151663"/>
                <a:ext cx="1460428"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452759"/>
                    </a:solidFill>
                    <a:effectLst/>
                    <a:uLnTx/>
                    <a:uFillTx/>
                    <a:latin typeface="Segoe UI" panose="020B0502040204020203" pitchFamily="34" charset="0"/>
                    <a:ea typeface="+mn-ea"/>
                    <a:cs typeface="Segoe UI" panose="020B0502040204020203" pitchFamily="34" charset="0"/>
                  </a:rPr>
                  <a:t>Managed Instance</a:t>
                </a:r>
              </a:p>
            </p:txBody>
          </p:sp>
        </p:grpSp>
        <p:graphicFrame>
          <p:nvGraphicFramePr>
            <p:cNvPr id="61" name="Object 60">
              <a:extLst>
                <a:ext uri="{FF2B5EF4-FFF2-40B4-BE49-F238E27FC236}">
                  <a16:creationId xmlns:a16="http://schemas.microsoft.com/office/drawing/2014/main" id="{2B289A2F-5045-4410-B7F4-97D821C5FDC7}"/>
                </a:ext>
              </a:extLst>
            </p:cNvPr>
            <p:cNvGraphicFramePr>
              <a:graphicFrameLocks noChangeAspect="1"/>
            </p:cNvGraphicFramePr>
            <p:nvPr>
              <p:extLst/>
            </p:nvPr>
          </p:nvGraphicFramePr>
          <p:xfrm>
            <a:off x="9063644" y="5136995"/>
            <a:ext cx="566928" cy="524815"/>
          </p:xfrm>
          <a:graphic>
            <a:graphicData uri="http://schemas.openxmlformats.org/presentationml/2006/ole">
              <mc:AlternateContent xmlns:mc="http://schemas.openxmlformats.org/markup-compatibility/2006">
                <mc:Choice xmlns:v="urn:schemas-microsoft-com:vml" Requires="v">
                  <p:oleObj spid="_x0000_s4100" name="CorelDRAW" r:id="rId8" imgW="277332" imgH="257583" progId="CorelDraw.Graphic.17">
                    <p:embed/>
                  </p:oleObj>
                </mc:Choice>
                <mc:Fallback>
                  <p:oleObj name="CorelDRAW" r:id="rId8" imgW="277332" imgH="257583" progId="CorelDraw.Graphic.17">
                    <p:embed/>
                    <p:pic>
                      <p:nvPicPr>
                        <p:cNvPr id="61" name="Object 60">
                          <a:extLst>
                            <a:ext uri="{FF2B5EF4-FFF2-40B4-BE49-F238E27FC236}">
                              <a16:creationId xmlns:a16="http://schemas.microsoft.com/office/drawing/2014/main" id="{2B289A2F-5045-4410-B7F4-97D821C5FDC7}"/>
                            </a:ext>
                          </a:extLst>
                        </p:cNvPr>
                        <p:cNvPicPr/>
                        <p:nvPr/>
                      </p:nvPicPr>
                      <p:blipFill>
                        <a:blip r:embed="rId9"/>
                        <a:stretch>
                          <a:fillRect/>
                        </a:stretch>
                      </p:blipFill>
                      <p:spPr>
                        <a:xfrm>
                          <a:off x="9063644" y="5136995"/>
                          <a:ext cx="566928" cy="524815"/>
                        </a:xfrm>
                        <a:prstGeom prst="rect">
                          <a:avLst/>
                        </a:prstGeom>
                      </p:spPr>
                    </p:pic>
                  </p:oleObj>
                </mc:Fallback>
              </mc:AlternateContent>
            </a:graphicData>
          </a:graphic>
        </p:graphicFrame>
      </p:grpSp>
      <p:grpSp>
        <p:nvGrpSpPr>
          <p:cNvPr id="71" name="Group 70">
            <a:extLst>
              <a:ext uri="{FF2B5EF4-FFF2-40B4-BE49-F238E27FC236}">
                <a16:creationId xmlns:a16="http://schemas.microsoft.com/office/drawing/2014/main" id="{C8793458-822B-4E11-BD4D-FA4AAD52CD2B}"/>
              </a:ext>
            </a:extLst>
          </p:cNvPr>
          <p:cNvGrpSpPr/>
          <p:nvPr/>
        </p:nvGrpSpPr>
        <p:grpSpPr>
          <a:xfrm>
            <a:off x="8157858" y="2383171"/>
            <a:ext cx="1812761" cy="626317"/>
            <a:chOff x="8482461" y="2568848"/>
            <a:chExt cx="1849111" cy="638876"/>
          </a:xfrm>
        </p:grpSpPr>
        <p:sp>
          <p:nvSpPr>
            <p:cNvPr id="66" name="Freeform: Shape 65">
              <a:extLst>
                <a:ext uri="{FF2B5EF4-FFF2-40B4-BE49-F238E27FC236}">
                  <a16:creationId xmlns:a16="http://schemas.microsoft.com/office/drawing/2014/main" id="{75409C29-D719-4847-9CF2-F95BB1697AC9}"/>
                </a:ext>
              </a:extLst>
            </p:cNvPr>
            <p:cNvSpPr/>
            <p:nvPr/>
          </p:nvSpPr>
          <p:spPr>
            <a:xfrm>
              <a:off x="8482461" y="2568848"/>
              <a:ext cx="1849111"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solidFill>
              <a:srgbClr val="FFB800"/>
            </a:solid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ctr" defTabSz="871487" rtl="0" eaLnBrk="1" fontAlgn="auto" latinLnBrk="0" hangingPunct="1">
                <a:lnSpc>
                  <a:spcPct val="90000"/>
                </a:lnSpc>
                <a:spcBef>
                  <a:spcPct val="0"/>
                </a:spcBef>
                <a:spcAft>
                  <a:spcPct val="35000"/>
                </a:spcAft>
                <a:buClrTx/>
                <a:buSzTx/>
                <a:buFontTx/>
                <a:buNone/>
                <a:tabLst/>
                <a:defRPr/>
              </a:pPr>
              <a:endParaRPr kumimoji="0" lang="en-US" sz="1961" b="1"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endParaRPr>
            </a:p>
          </p:txBody>
        </p:sp>
        <p:sp>
          <p:nvSpPr>
            <p:cNvPr id="67" name="Flowchart: Manual Input 66">
              <a:extLst>
                <a:ext uri="{FF2B5EF4-FFF2-40B4-BE49-F238E27FC236}">
                  <a16:creationId xmlns:a16="http://schemas.microsoft.com/office/drawing/2014/main" id="{6AC964BE-E6C8-472B-A9FE-2C3FE24BED10}"/>
                </a:ext>
              </a:extLst>
            </p:cNvPr>
            <p:cNvSpPr/>
            <p:nvPr/>
          </p:nvSpPr>
          <p:spPr bwMode="auto">
            <a:xfrm rot="16200000" flipH="1">
              <a:off x="9492206" y="2368359"/>
              <a:ext cx="638875" cy="1039856"/>
            </a:xfrm>
            <a:prstGeom prst="flowChartManualInput">
              <a:avLst/>
            </a:prstGeom>
            <a:solidFill>
              <a:srgbClr val="FDD0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642BFE26-9677-4DF8-92F2-77B9F51D477F}"/>
                </a:ext>
              </a:extLst>
            </p:cNvPr>
            <p:cNvSpPr/>
            <p:nvPr/>
          </p:nvSpPr>
          <p:spPr>
            <a:xfrm>
              <a:off x="9187501" y="2568848"/>
              <a:ext cx="1121120" cy="638875"/>
            </a:xfrm>
            <a:custGeom>
              <a:avLst/>
              <a:gdLst>
                <a:gd name="connsiteX0" fmla="*/ 0 w 1996484"/>
                <a:gd name="connsiteY0" fmla="*/ 0 h 638875"/>
                <a:gd name="connsiteX1" fmla="*/ 1996484 w 1996484"/>
                <a:gd name="connsiteY1" fmla="*/ 0 h 638875"/>
                <a:gd name="connsiteX2" fmla="*/ 1996484 w 1996484"/>
                <a:gd name="connsiteY2" fmla="*/ 638875 h 638875"/>
                <a:gd name="connsiteX3" fmla="*/ 0 w 1996484"/>
                <a:gd name="connsiteY3" fmla="*/ 638875 h 638875"/>
                <a:gd name="connsiteX4" fmla="*/ 0 w 1996484"/>
                <a:gd name="connsiteY4" fmla="*/ 0 h 638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484" h="638875">
                  <a:moveTo>
                    <a:pt x="0" y="0"/>
                  </a:moveTo>
                  <a:lnTo>
                    <a:pt x="1996484" y="0"/>
                  </a:lnTo>
                  <a:lnTo>
                    <a:pt x="1996484" y="638875"/>
                  </a:lnTo>
                  <a:lnTo>
                    <a:pt x="0" y="638875"/>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450" tIns="12450" rIns="12450" bIns="12450" numCol="1" spcCol="1270" anchor="ctr" anchorCtr="0">
              <a:no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765" b="1" i="0" u="none" strike="noStrike" kern="1200" cap="none" spc="0" normalizeH="0" baseline="0" noProof="0" dirty="0">
                  <a:ln>
                    <a:noFill/>
                  </a:ln>
                  <a:solidFill>
                    <a:srgbClr val="BE6800"/>
                  </a:solidFill>
                  <a:effectLst/>
                  <a:uLnTx/>
                  <a:uFillTx/>
                  <a:latin typeface="Segoe UI" panose="020B0502040204020203" pitchFamily="34" charset="0"/>
                  <a:ea typeface="+mn-ea"/>
                  <a:cs typeface="Segoe UI" panose="020B0502040204020203" pitchFamily="34" charset="0"/>
                </a:rPr>
                <a:t>Singleton</a:t>
              </a:r>
            </a:p>
          </p:txBody>
        </p:sp>
        <p:graphicFrame>
          <p:nvGraphicFramePr>
            <p:cNvPr id="70" name="Object 69">
              <a:extLst>
                <a:ext uri="{FF2B5EF4-FFF2-40B4-BE49-F238E27FC236}">
                  <a16:creationId xmlns:a16="http://schemas.microsoft.com/office/drawing/2014/main" id="{CDB5BBBE-D80C-4371-A202-B905E1DA70C5}"/>
                </a:ext>
              </a:extLst>
            </p:cNvPr>
            <p:cNvGraphicFramePr>
              <a:graphicFrameLocks noChangeAspect="1"/>
            </p:cNvGraphicFramePr>
            <p:nvPr>
              <p:extLst/>
            </p:nvPr>
          </p:nvGraphicFramePr>
          <p:xfrm>
            <a:off x="8629520" y="2607679"/>
            <a:ext cx="393156" cy="525503"/>
          </p:xfrm>
          <a:graphic>
            <a:graphicData uri="http://schemas.openxmlformats.org/presentationml/2006/ole">
              <mc:AlternateContent xmlns:mc="http://schemas.openxmlformats.org/markup-compatibility/2006">
                <mc:Choice xmlns:v="urn:schemas-microsoft-com:vml" Requires="v">
                  <p:oleObj spid="_x0000_s4101" name="CorelDRAW" r:id="rId10" imgW="160518" imgH="214312" progId="CorelDraw.Graphic.17">
                    <p:embed/>
                  </p:oleObj>
                </mc:Choice>
                <mc:Fallback>
                  <p:oleObj name="CorelDRAW" r:id="rId10" imgW="160518" imgH="214312" progId="CorelDraw.Graphic.17">
                    <p:embed/>
                    <p:pic>
                      <p:nvPicPr>
                        <p:cNvPr id="70" name="Object 69">
                          <a:extLst>
                            <a:ext uri="{FF2B5EF4-FFF2-40B4-BE49-F238E27FC236}">
                              <a16:creationId xmlns:a16="http://schemas.microsoft.com/office/drawing/2014/main" id="{CDB5BBBE-D80C-4371-A202-B905E1DA70C5}"/>
                            </a:ext>
                          </a:extLst>
                        </p:cNvPr>
                        <p:cNvPicPr/>
                        <p:nvPr/>
                      </p:nvPicPr>
                      <p:blipFill>
                        <a:blip r:embed="rId11"/>
                        <a:stretch>
                          <a:fillRect/>
                        </a:stretch>
                      </p:blipFill>
                      <p:spPr>
                        <a:xfrm>
                          <a:off x="8629520" y="2607679"/>
                          <a:ext cx="393156" cy="525503"/>
                        </a:xfrm>
                        <a:prstGeom prst="rect">
                          <a:avLst/>
                        </a:prstGeom>
                      </p:spPr>
                    </p:pic>
                  </p:oleObj>
                </mc:Fallback>
              </mc:AlternateContent>
            </a:graphicData>
          </a:graphic>
        </p:graphicFrame>
      </p:grpSp>
      <p:cxnSp>
        <p:nvCxnSpPr>
          <p:cNvPr id="22" name="Connector: Elbow 21">
            <a:extLst>
              <a:ext uri="{FF2B5EF4-FFF2-40B4-BE49-F238E27FC236}">
                <a16:creationId xmlns:a16="http://schemas.microsoft.com/office/drawing/2014/main" id="{687918F0-375F-4B98-9D5E-4C034AF18D79}"/>
              </a:ext>
            </a:extLst>
          </p:cNvPr>
          <p:cNvCxnSpPr>
            <a:cxnSpLocks/>
            <a:stCxn id="4" idx="3"/>
          </p:cNvCxnSpPr>
          <p:nvPr/>
        </p:nvCxnSpPr>
        <p:spPr>
          <a:xfrm>
            <a:off x="4600796" y="1898280"/>
            <a:ext cx="1156416" cy="783699"/>
          </a:xfrm>
          <a:prstGeom prst="bentConnector3">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90385A34-A670-41E2-8214-1CE57C0025DF}"/>
              </a:ext>
            </a:extLst>
          </p:cNvPr>
          <p:cNvCxnSpPr>
            <a:cxnSpLocks/>
          </p:cNvCxnSpPr>
          <p:nvPr/>
        </p:nvCxnSpPr>
        <p:spPr>
          <a:xfrm>
            <a:off x="9165608" y="2009661"/>
            <a:ext cx="1745203" cy="373508"/>
          </a:xfrm>
          <a:prstGeom prst="bentConnector3">
            <a:avLst>
              <a:gd name="adj1" fmla="val 99938"/>
            </a:avLst>
          </a:prstGeom>
          <a:ln w="38100">
            <a:solidFill>
              <a:srgbClr val="8AA10F"/>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8D8AA26-F58E-416B-A976-A075E48B1E9A}"/>
              </a:ext>
            </a:extLst>
          </p:cNvPr>
          <p:cNvCxnSpPr>
            <a:cxnSpLocks/>
          </p:cNvCxnSpPr>
          <p:nvPr/>
        </p:nvCxnSpPr>
        <p:spPr>
          <a:xfrm rot="10800000" flipV="1">
            <a:off x="7268133" y="2009660"/>
            <a:ext cx="1874977" cy="373512"/>
          </a:xfrm>
          <a:prstGeom prst="bentConnector2">
            <a:avLst/>
          </a:prstGeom>
          <a:ln w="38100">
            <a:solidFill>
              <a:srgbClr val="9A509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27F2DAF-826A-4932-BA64-16AA203418CF}"/>
              </a:ext>
            </a:extLst>
          </p:cNvPr>
          <p:cNvCxnSpPr>
            <a:cxnSpLocks/>
          </p:cNvCxnSpPr>
          <p:nvPr/>
        </p:nvCxnSpPr>
        <p:spPr>
          <a:xfrm>
            <a:off x="9158785" y="1804312"/>
            <a:ext cx="0" cy="578859"/>
          </a:xfrm>
          <a:prstGeom prst="straightConnector1">
            <a:avLst/>
          </a:prstGeom>
          <a:ln w="38100">
            <a:solidFill>
              <a:srgbClr val="BE68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0B9D176-B0F7-475C-94AB-AB3F7DC0304D}"/>
              </a:ext>
            </a:extLst>
          </p:cNvPr>
          <p:cNvGrpSpPr/>
          <p:nvPr/>
        </p:nvGrpSpPr>
        <p:grpSpPr>
          <a:xfrm>
            <a:off x="8725327" y="3414941"/>
            <a:ext cx="2476499" cy="3043655"/>
            <a:chOff x="6004621" y="3482920"/>
            <a:chExt cx="2526158" cy="3104687"/>
          </a:xfrm>
        </p:grpSpPr>
        <p:sp>
          <p:nvSpPr>
            <p:cNvPr id="39" name="Freeform: Shape 38">
              <a:extLst>
                <a:ext uri="{FF2B5EF4-FFF2-40B4-BE49-F238E27FC236}">
                  <a16:creationId xmlns:a16="http://schemas.microsoft.com/office/drawing/2014/main" id="{CE43E217-1693-434B-A835-325EAA9C58DE}"/>
                </a:ext>
              </a:extLst>
            </p:cNvPr>
            <p:cNvSpPr/>
            <p:nvPr/>
          </p:nvSpPr>
          <p:spPr>
            <a:xfrm>
              <a:off x="6004621" y="3482920"/>
              <a:ext cx="2526158" cy="930647"/>
            </a:xfrm>
            <a:custGeom>
              <a:avLst/>
              <a:gdLst>
                <a:gd name="connsiteX0" fmla="*/ 0 w 2526158"/>
                <a:gd name="connsiteY0" fmla="*/ 0 h 930647"/>
                <a:gd name="connsiteX1" fmla="*/ 2526158 w 2526158"/>
                <a:gd name="connsiteY1" fmla="*/ 0 h 930647"/>
                <a:gd name="connsiteX2" fmla="*/ 2526158 w 2526158"/>
                <a:gd name="connsiteY2" fmla="*/ 930647 h 930647"/>
                <a:gd name="connsiteX3" fmla="*/ 0 w 2526158"/>
                <a:gd name="connsiteY3" fmla="*/ 930647 h 930647"/>
                <a:gd name="connsiteX4" fmla="*/ 0 w 2526158"/>
                <a:gd name="connsiteY4" fmla="*/ 0 h 93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930647">
                  <a:moveTo>
                    <a:pt x="0" y="0"/>
                  </a:moveTo>
                  <a:lnTo>
                    <a:pt x="2526158" y="0"/>
                  </a:lnTo>
                  <a:lnTo>
                    <a:pt x="2526158" y="930647"/>
                  </a:lnTo>
                  <a:lnTo>
                    <a:pt x="0" y="930647"/>
                  </a:lnTo>
                  <a:lnTo>
                    <a:pt x="0" y="0"/>
                  </a:lnTo>
                  <a:close/>
                </a:path>
              </a:pathLst>
            </a:custGeom>
            <a:solidFill>
              <a:schemeClr val="accent4"/>
            </a:solidFill>
            <a:ln>
              <a:noFill/>
            </a:ln>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7333" tIns="95619" rIns="167333" bIns="95619" numCol="1" spcCol="1270" anchor="ctr" anchorCtr="0">
              <a:noAutofit/>
            </a:bodyPr>
            <a:lstStyle/>
            <a:p>
              <a:pPr marL="0" marR="0" lvl="0" indent="0" algn="ctr" defTabSz="1045784"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New business model</a:t>
              </a:r>
            </a:p>
          </p:txBody>
        </p:sp>
        <p:sp>
          <p:nvSpPr>
            <p:cNvPr id="40" name="Freeform: Shape 39">
              <a:extLst>
                <a:ext uri="{FF2B5EF4-FFF2-40B4-BE49-F238E27FC236}">
                  <a16:creationId xmlns:a16="http://schemas.microsoft.com/office/drawing/2014/main" id="{DB19CF75-A617-46B3-A1D5-A391BD34B13E}"/>
                </a:ext>
              </a:extLst>
            </p:cNvPr>
            <p:cNvSpPr/>
            <p:nvPr/>
          </p:nvSpPr>
          <p:spPr>
            <a:xfrm>
              <a:off x="6004621" y="4413567"/>
              <a:ext cx="2526158" cy="2174040"/>
            </a:xfrm>
            <a:custGeom>
              <a:avLst/>
              <a:gdLst>
                <a:gd name="connsiteX0" fmla="*/ 0 w 2526158"/>
                <a:gd name="connsiteY0" fmla="*/ 0 h 2174040"/>
                <a:gd name="connsiteX1" fmla="*/ 2526158 w 2526158"/>
                <a:gd name="connsiteY1" fmla="*/ 0 h 2174040"/>
                <a:gd name="connsiteX2" fmla="*/ 2526158 w 2526158"/>
                <a:gd name="connsiteY2" fmla="*/ 2174040 h 2174040"/>
                <a:gd name="connsiteX3" fmla="*/ 0 w 2526158"/>
                <a:gd name="connsiteY3" fmla="*/ 2174040 h 2174040"/>
                <a:gd name="connsiteX4" fmla="*/ 0 w 2526158"/>
                <a:gd name="connsiteY4" fmla="*/ 0 h 2174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158" h="2174040">
                  <a:moveTo>
                    <a:pt x="0" y="0"/>
                  </a:moveTo>
                  <a:lnTo>
                    <a:pt x="2526158" y="0"/>
                  </a:lnTo>
                  <a:lnTo>
                    <a:pt x="2526158" y="2174040"/>
                  </a:lnTo>
                  <a:lnTo>
                    <a:pt x="0" y="2174040"/>
                  </a:lnTo>
                  <a:lnTo>
                    <a:pt x="0" y="0"/>
                  </a:lnTo>
                  <a:close/>
                </a:path>
              </a:pathLst>
            </a:custGeom>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5499" tIns="125499" rIns="167333" bIns="188249" numCol="1" spcCol="1270" anchor="t" anchorCtr="0">
              <a:noAutofit/>
            </a:bodyPr>
            <a:lstStyle/>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Competitive</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Transparent</a:t>
              </a:r>
            </a:p>
            <a:p>
              <a:pPr marL="224097" marR="0" lvl="1" indent="-224097" algn="l" defTabSz="1045784" rtl="0" eaLnBrk="1" fontAlgn="auto" latinLnBrk="0" hangingPunct="1">
                <a:lnSpc>
                  <a:spcPct val="150000"/>
                </a:lnSpc>
                <a:spcBef>
                  <a:spcPct val="0"/>
                </a:spcBef>
                <a:spcAft>
                  <a:spcPct val="15000"/>
                </a:spcAft>
                <a:buClrTx/>
                <a:buSzTx/>
                <a:buFontTx/>
                <a:buChar char="•"/>
                <a:tabLst/>
                <a:defRPr/>
              </a:pPr>
              <a:r>
                <a:rPr kumimoji="0" lang="en-US" sz="1765" b="0" i="0" u="none" strike="noStrike" kern="1200" cap="none" spc="0" normalizeH="0" baseline="0" noProof="0" dirty="0">
                  <a:ln>
                    <a:noFill/>
                  </a:ln>
                  <a:solidFill>
                    <a:srgbClr val="353535">
                      <a:hueOff val="0"/>
                      <a:satOff val="0"/>
                      <a:lumOff val="0"/>
                      <a:alphaOff val="0"/>
                    </a:srgbClr>
                  </a:solidFill>
                  <a:effectLst/>
                  <a:uLnTx/>
                  <a:uFillTx/>
                  <a:latin typeface="Segoe UI Semilight"/>
                  <a:ea typeface="+mn-ea"/>
                  <a:cs typeface="+mn-cs"/>
                </a:rPr>
                <a:t>Frictionless</a:t>
              </a:r>
            </a:p>
          </p:txBody>
        </p:sp>
      </p:grpSp>
    </p:spTree>
    <p:extLst>
      <p:ext uri="{BB962C8B-B14F-4D97-AF65-F5344CB8AC3E}">
        <p14:creationId xmlns:p14="http://schemas.microsoft.com/office/powerpoint/2010/main" val="85091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up)">
                                      <p:cBhvr>
                                        <p:cTn id="10" dur="500"/>
                                        <p:tgtEl>
                                          <p:spTgt spid="44"/>
                                        </p:tgtEl>
                                      </p:cBhvr>
                                    </p:animEffect>
                                  </p:childTnLst>
                                </p:cTn>
                              </p:par>
                              <p:par>
                                <p:cTn id="11" presetID="22" presetClass="entr" presetSubtype="8"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wipe(left)">
                                      <p:cBhvr>
                                        <p:cTn id="13" dur="500"/>
                                        <p:tgtEl>
                                          <p:spTgt spid="65"/>
                                        </p:tgtEl>
                                      </p:cBhvr>
                                    </p:animEffect>
                                  </p:childTnLst>
                                </p:cTn>
                              </p:par>
                              <p:par>
                                <p:cTn id="14" presetID="22" presetClass="entr" presetSubtype="2"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wipe(right)">
                                      <p:cBhvr>
                                        <p:cTn id="16" dur="500"/>
                                        <p:tgtEl>
                                          <p:spTgt spid="69"/>
                                        </p:tgtEl>
                                      </p:cBhvr>
                                    </p:animEffect>
                                  </p:childTnLst>
                                </p:cTn>
                              </p:par>
                              <p:par>
                                <p:cTn id="17" presetID="10" presetClass="entr" presetSubtype="0" fill="hold" nodeType="withEffect">
                                  <p:stCondLst>
                                    <p:cond delay="30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par>
                                <p:cTn id="20" presetID="10" presetClass="entr" presetSubtype="0" fill="hold"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30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up)">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ipe(up)">
                                      <p:cBhvr>
                                        <p:cTn id="35" dur="500"/>
                                        <p:tgtEl>
                                          <p:spTgt spid="1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up)">
                                      <p:cBhvr>
                                        <p:cTn id="40" dur="500"/>
                                        <p:tgtEl>
                                          <p:spTgt spid="1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up)">
                                      <p:cBhvr>
                                        <p:cTn id="4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 on your business…</a:t>
            </a:r>
          </a:p>
        </p:txBody>
      </p:sp>
      <p:sp>
        <p:nvSpPr>
          <p:cNvPr id="5" name="TextBox 4">
            <a:extLst>
              <a:ext uri="{FF2B5EF4-FFF2-40B4-BE49-F238E27FC236}">
                <a16:creationId xmlns:a16="http://schemas.microsoft.com/office/drawing/2014/main" id="{B1720377-6407-4F86-8FAD-52C4BF22B324}"/>
              </a:ext>
            </a:extLst>
          </p:cNvPr>
          <p:cNvSpPr txBox="1"/>
          <p:nvPr/>
        </p:nvSpPr>
        <p:spPr>
          <a:xfrm>
            <a:off x="7440637" y="142108"/>
            <a:ext cx="4484444"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anaged Instance will offer</a:t>
            </a:r>
            <a:b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br>
            <a:r>
              <a:rPr kumimoji="0" lang="en-US" sz="2745"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ll these features by GA!</a:t>
            </a:r>
          </a:p>
        </p:txBody>
      </p:sp>
      <p:graphicFrame>
        <p:nvGraphicFramePr>
          <p:cNvPr id="10" name="Table 9">
            <a:extLst>
              <a:ext uri="{FF2B5EF4-FFF2-40B4-BE49-F238E27FC236}">
                <a16:creationId xmlns:a16="http://schemas.microsoft.com/office/drawing/2014/main" id="{DB85980D-A81E-460F-B3B3-8B85766B0F3E}"/>
              </a:ext>
            </a:extLst>
          </p:cNvPr>
          <p:cNvGraphicFramePr>
            <a:graphicFrameLocks noGrp="1"/>
          </p:cNvGraphicFramePr>
          <p:nvPr>
            <p:extLst/>
          </p:nvPr>
        </p:nvGraphicFramePr>
        <p:xfrm>
          <a:off x="494506" y="1337342"/>
          <a:ext cx="11205311" cy="4649456"/>
        </p:xfrm>
        <a:graphic>
          <a:graphicData uri="http://schemas.openxmlformats.org/drawingml/2006/table">
            <a:tbl>
              <a:tblPr firstRow="1" bandRow="1">
                <a:tableStyleId>{5C22544A-7EE6-4342-B048-85BDC9FD1C3A}</a:tableStyleId>
              </a:tblPr>
              <a:tblGrid>
                <a:gridCol w="7171399">
                  <a:extLst>
                    <a:ext uri="{9D8B030D-6E8A-4147-A177-3AD203B41FA5}">
                      <a16:colId xmlns:a16="http://schemas.microsoft.com/office/drawing/2014/main" val="1690209004"/>
                    </a:ext>
                  </a:extLst>
                </a:gridCol>
                <a:gridCol w="4033912">
                  <a:extLst>
                    <a:ext uri="{9D8B030D-6E8A-4147-A177-3AD203B41FA5}">
                      <a16:colId xmlns:a16="http://schemas.microsoft.com/office/drawing/2014/main" val="3441464615"/>
                    </a:ext>
                  </a:extLst>
                </a:gridCol>
              </a:tblGrid>
              <a:tr h="363550">
                <a:tc>
                  <a:txBody>
                    <a:bodyPr/>
                    <a:lstStyle/>
                    <a:p>
                      <a:r>
                        <a:rPr lang="en-US" sz="1700" dirty="0"/>
                        <a:t>Your work so far</a:t>
                      </a:r>
                    </a:p>
                  </a:txBody>
                  <a:tcPr marL="89642" marR="89642" marT="44821" marB="44821"/>
                </a:tc>
                <a:tc>
                  <a:txBody>
                    <a:bodyPr/>
                    <a:lstStyle/>
                    <a:p>
                      <a:r>
                        <a:rPr lang="en-US" sz="1700" dirty="0"/>
                        <a:t>How</a:t>
                      </a:r>
                      <a:r>
                        <a:rPr lang="en-US" sz="1700" baseline="0" dirty="0"/>
                        <a:t> PaaS helps?</a:t>
                      </a:r>
                      <a:endParaRPr lang="en-US" sz="1700" dirty="0"/>
                    </a:p>
                  </a:txBody>
                  <a:tcPr marL="89642" marR="89642" marT="44821" marB="44821"/>
                </a:tc>
                <a:extLst>
                  <a:ext uri="{0D108BD9-81ED-4DB2-BD59-A6C34878D82A}">
                    <a16:rowId xmlns:a16="http://schemas.microsoft.com/office/drawing/2014/main" val="270054449"/>
                  </a:ext>
                </a:extLst>
              </a:tr>
              <a:tr h="617039">
                <a:tc>
                  <a:txBody>
                    <a:bodyPr/>
                    <a:lstStyle/>
                    <a:p>
                      <a:pPr marL="0" lvl="0" indent="0">
                        <a:buFont typeface="Arial" panose="020B0604020202020204" pitchFamily="34" charset="0"/>
                        <a:buNone/>
                      </a:pPr>
                      <a:r>
                        <a:rPr lang="en-US" sz="1700" baseline="0" dirty="0"/>
                        <a:t>Hardware purchasing and management</a:t>
                      </a:r>
                    </a:p>
                  </a:txBody>
                  <a:tcPr marL="89642" marR="89642" marT="44821" marB="44821"/>
                </a:tc>
                <a:tc>
                  <a:txBody>
                    <a:bodyPr/>
                    <a:lstStyle/>
                    <a:p>
                      <a:r>
                        <a:rPr lang="en-US" sz="1700" b="1" dirty="0">
                          <a:solidFill>
                            <a:srgbClr val="107C10"/>
                          </a:solidFill>
                        </a:rPr>
                        <a:t>Built-in</a:t>
                      </a:r>
                    </a:p>
                    <a:p>
                      <a:r>
                        <a:rPr lang="en-US" sz="1700" dirty="0"/>
                        <a:t>Scales on-demand</a:t>
                      </a:r>
                    </a:p>
                  </a:txBody>
                  <a:tcPr marL="89642" marR="89642" marT="44821" marB="44821"/>
                </a:tc>
                <a:extLst>
                  <a:ext uri="{0D108BD9-81ED-4DB2-BD59-A6C34878D82A}">
                    <a16:rowId xmlns:a16="http://schemas.microsoft.com/office/drawing/2014/main" val="1308207974"/>
                  </a:ext>
                </a:extLst>
              </a:tr>
              <a:tr h="617039">
                <a:tc>
                  <a:txBody>
                    <a:bodyPr/>
                    <a:lstStyle/>
                    <a:p>
                      <a:r>
                        <a:rPr lang="en-US" sz="1700" dirty="0"/>
                        <a:t>Protect data with backups </a:t>
                      </a:r>
                      <a:r>
                        <a:rPr lang="en-US" sz="1700" baseline="0" dirty="0"/>
                        <a:t>(with health checks and retention)</a:t>
                      </a:r>
                    </a:p>
                  </a:txBody>
                  <a:tcPr marL="89642" marR="89642" marT="44821" marB="44821"/>
                </a:tc>
                <a:tc>
                  <a:txBody>
                    <a:bodyPr/>
                    <a:lstStyle/>
                    <a:p>
                      <a:r>
                        <a:rPr lang="en-US" sz="1700" b="1" dirty="0">
                          <a:solidFill>
                            <a:srgbClr val="107C10"/>
                          </a:solidFill>
                        </a:rPr>
                        <a:t>Built-in</a:t>
                      </a:r>
                    </a:p>
                    <a:p>
                      <a:r>
                        <a:rPr lang="en-US" sz="1700" dirty="0"/>
                        <a:t>Point-In-Time-Restore</a:t>
                      </a:r>
                    </a:p>
                  </a:txBody>
                  <a:tcPr marL="89642" marR="89642" marT="44821" marB="44821"/>
                </a:tc>
                <a:extLst>
                  <a:ext uri="{0D108BD9-81ED-4DB2-BD59-A6C34878D82A}">
                    <a16:rowId xmlns:a16="http://schemas.microsoft.com/office/drawing/2014/main" val="2688854763"/>
                  </a:ext>
                </a:extLst>
              </a:tr>
              <a:tr h="617039">
                <a:tc>
                  <a:txBody>
                    <a:bodyPr/>
                    <a:lstStyle/>
                    <a:p>
                      <a:r>
                        <a:rPr lang="en-US" sz="1700" dirty="0"/>
                        <a:t>High availability implementation</a:t>
                      </a:r>
                    </a:p>
                  </a:txBody>
                  <a:tcPr marL="89642" marR="89642" marT="44821" marB="44821"/>
                </a:tc>
                <a:tc>
                  <a:txBody>
                    <a:bodyPr/>
                    <a:lstStyle/>
                    <a:p>
                      <a:r>
                        <a:rPr lang="en-US" sz="1700" b="1" dirty="0">
                          <a:solidFill>
                            <a:srgbClr val="107C10"/>
                          </a:solidFill>
                        </a:rPr>
                        <a:t>Built-in</a:t>
                      </a:r>
                    </a:p>
                    <a:p>
                      <a:r>
                        <a:rPr lang="en-US" sz="1700" dirty="0"/>
                        <a:t>99.99% SLA and auto-failover</a:t>
                      </a:r>
                    </a:p>
                  </a:txBody>
                  <a:tcPr marL="89642" marR="89642" marT="44821" marB="44821"/>
                </a:tc>
                <a:extLst>
                  <a:ext uri="{0D108BD9-81ED-4DB2-BD59-A6C34878D82A}">
                    <a16:rowId xmlns:a16="http://schemas.microsoft.com/office/drawing/2014/main" val="4255915566"/>
                  </a:ext>
                </a:extLst>
              </a:tr>
              <a:tr h="617039">
                <a:tc>
                  <a:txBody>
                    <a:bodyPr/>
                    <a:lstStyle/>
                    <a:p>
                      <a:pPr marL="0" lvl="0" indent="0">
                        <a:buFont typeface="Arial" panose="020B0604020202020204" pitchFamily="34" charset="0"/>
                        <a:buNone/>
                      </a:pPr>
                      <a:r>
                        <a:rPr lang="en-US" sz="1700" dirty="0"/>
                        <a:t>Disaster recovery implementation</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endParaRPr lang="en-US" sz="1700" dirty="0"/>
                    </a:p>
                    <a:p>
                      <a:r>
                        <a:rPr lang="en-US" sz="1700" dirty="0"/>
                        <a:t>Geo-redundancy and geo-replication</a:t>
                      </a:r>
                    </a:p>
                  </a:txBody>
                  <a:tcPr marL="89642" marR="89642" marT="44821" marB="44821"/>
                </a:tc>
                <a:extLst>
                  <a:ext uri="{0D108BD9-81ED-4DB2-BD59-A6C34878D82A}">
                    <a16:rowId xmlns:a16="http://schemas.microsoft.com/office/drawing/2014/main" val="1461877366"/>
                  </a:ext>
                </a:extLst>
              </a:tr>
              <a:tr h="363550">
                <a:tc>
                  <a:txBody>
                    <a:bodyPr/>
                    <a:lstStyle/>
                    <a:p>
                      <a:pPr marL="0" lvl="0" indent="0">
                        <a:buFont typeface="Arial" panose="020B0604020202020204" pitchFamily="34" charset="0"/>
                        <a:buNone/>
                      </a:pPr>
                      <a:r>
                        <a:rPr lang="en-US" sz="1700" dirty="0"/>
                        <a:t>Ensure compliance with standards on your own</a:t>
                      </a:r>
                    </a:p>
                  </a:txBody>
                  <a:tcPr marL="89642" marR="89642" marT="44821" marB="44821"/>
                </a:tc>
                <a:tc>
                  <a:txBody>
                    <a:bodyPr/>
                    <a:lstStyle/>
                    <a:p>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b="1" dirty="0">
                        <a:solidFill>
                          <a:srgbClr val="107C10"/>
                        </a:solidFill>
                      </a:endParaRPr>
                    </a:p>
                  </a:txBody>
                  <a:tcPr marL="89642" marR="89642" marT="44821" marB="44821"/>
                </a:tc>
                <a:extLst>
                  <a:ext uri="{0D108BD9-81ED-4DB2-BD59-A6C34878D82A}">
                    <a16:rowId xmlns:a16="http://schemas.microsoft.com/office/drawing/2014/main" val="1926842925"/>
                  </a:ext>
                </a:extLst>
              </a:tr>
              <a:tr h="363550">
                <a:tc>
                  <a:txBody>
                    <a:bodyPr/>
                    <a:lstStyle/>
                    <a:p>
                      <a:pPr marL="0" lvl="0" indent="0">
                        <a:buFont typeface="Arial" panose="020B0604020202020204" pitchFamily="34" charset="0"/>
                        <a:buNone/>
                      </a:pPr>
                      <a:r>
                        <a:rPr lang="en-US" sz="1700" dirty="0"/>
                        <a:t>Secure your data from malicious users and mistakes</a:t>
                      </a:r>
                      <a:endParaRPr lang="en-US" sz="1700" baseline="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424592129"/>
                  </a:ext>
                </a:extLst>
              </a:tr>
              <a:tr h="363550">
                <a:tc>
                  <a:txBody>
                    <a:bodyPr/>
                    <a:lstStyle/>
                    <a:p>
                      <a:pPr marL="0" lvl="0" indent="0">
                        <a:buFont typeface="Arial" panose="020B0604020202020204" pitchFamily="34" charset="0"/>
                        <a:buNone/>
                      </a:pPr>
                      <a:r>
                        <a:rPr lang="en-US" sz="1700" baseline="0" dirty="0"/>
                        <a:t>Role out updates and upgrades</a:t>
                      </a:r>
                    </a:p>
                  </a:txBody>
                  <a:tcPr marL="89642" marR="89642" marT="44821" marB="44821"/>
                </a:tc>
                <a:tc>
                  <a:txBody>
                    <a:bodyPr/>
                    <a:lstStyle/>
                    <a:p>
                      <a:r>
                        <a:rPr lang="en-US" sz="1700" b="1" dirty="0">
                          <a:solidFill>
                            <a:srgbClr val="107C10"/>
                          </a:solidFill>
                        </a:rPr>
                        <a:t>Built-in</a:t>
                      </a:r>
                    </a:p>
                  </a:txBody>
                  <a:tcPr marL="89642" marR="89642" marT="44821" marB="44821"/>
                </a:tc>
                <a:extLst>
                  <a:ext uri="{0D108BD9-81ED-4DB2-BD59-A6C34878D82A}">
                    <a16:rowId xmlns:a16="http://schemas.microsoft.com/office/drawing/2014/main" val="3826892821"/>
                  </a:ext>
                </a:extLst>
              </a:tr>
              <a:tr h="363550">
                <a:tc>
                  <a:txBody>
                    <a:bodyPr/>
                    <a:lstStyle/>
                    <a:p>
                      <a:pPr marL="0" lvl="0" indent="0">
                        <a:buFont typeface="Arial" panose="020B0604020202020204" pitchFamily="34" charset="0"/>
                        <a:buNone/>
                      </a:pPr>
                      <a:r>
                        <a:rPr lang="en-US" sz="1700" baseline="0" dirty="0"/>
                        <a:t>Monitor, troubleshoot and manage at scal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 </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569042410"/>
                  </a:ext>
                </a:extLst>
              </a:tr>
              <a:tr h="363550">
                <a:tc>
                  <a:txBody>
                    <a:bodyPr/>
                    <a:lstStyle/>
                    <a:p>
                      <a:pPr marL="0" lvl="0" indent="0">
                        <a:buFont typeface="Arial" panose="020B0604020202020204" pitchFamily="34" charset="0"/>
                        <a:buNone/>
                      </a:pPr>
                      <a:r>
                        <a:rPr lang="en-US" sz="1700" dirty="0"/>
                        <a:t>T</a:t>
                      </a:r>
                      <a:r>
                        <a:rPr lang="en-US" sz="1700" baseline="0" dirty="0"/>
                        <a:t>une and maintain for predictable performance</a:t>
                      </a:r>
                      <a:endParaRPr lang="en-US" sz="1700" dirty="0"/>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dirty="0">
                          <a:solidFill>
                            <a:srgbClr val="107C10"/>
                          </a:solidFill>
                        </a:rPr>
                        <a:t>Built-in</a:t>
                      </a:r>
                      <a:r>
                        <a:rPr lang="en-US" sz="1700" b="0" dirty="0">
                          <a:solidFill>
                            <a:schemeClr val="tx1"/>
                          </a:solidFill>
                        </a:rPr>
                        <a:t>/ e</a:t>
                      </a:r>
                      <a:r>
                        <a:rPr lang="en-US" sz="1700" dirty="0"/>
                        <a:t>asy</a:t>
                      </a:r>
                      <a:r>
                        <a:rPr lang="en-US" sz="1700" baseline="0" dirty="0"/>
                        <a:t> to use features</a:t>
                      </a:r>
                      <a:endParaRPr lang="en-US" sz="1700" dirty="0"/>
                    </a:p>
                  </a:txBody>
                  <a:tcPr marL="89642" marR="89642" marT="44821" marB="44821"/>
                </a:tc>
                <a:extLst>
                  <a:ext uri="{0D108BD9-81ED-4DB2-BD59-A6C34878D82A}">
                    <a16:rowId xmlns:a16="http://schemas.microsoft.com/office/drawing/2014/main" val="3055770248"/>
                  </a:ext>
                </a:extLst>
              </a:tr>
            </a:tbl>
          </a:graphicData>
        </a:graphic>
      </p:graphicFrame>
      <p:sp>
        <p:nvSpPr>
          <p:cNvPr id="3" name="Rectangle 2">
            <a:extLst>
              <a:ext uri="{FF2B5EF4-FFF2-40B4-BE49-F238E27FC236}">
                <a16:creationId xmlns:a16="http://schemas.microsoft.com/office/drawing/2014/main" id="{B1588D91-AB0E-4D9B-B242-FDF3B85CFF08}"/>
              </a:ext>
            </a:extLst>
          </p:cNvPr>
          <p:cNvSpPr/>
          <p:nvPr/>
        </p:nvSpPr>
        <p:spPr bwMode="auto">
          <a:xfrm>
            <a:off x="7440637" y="142108"/>
            <a:ext cx="4484444" cy="6424379"/>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6193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8108" y="496183"/>
            <a:ext cx="11384209" cy="867862"/>
          </a:xfrm>
        </p:spPr>
        <p:txBody>
          <a:bodyPr/>
          <a:lstStyle/>
          <a:p>
            <a:r>
              <a:rPr lang="en-US" dirty="0"/>
              <a:t>IAAS vs PAAS</a:t>
            </a:r>
          </a:p>
        </p:txBody>
      </p:sp>
      <p:sp>
        <p:nvSpPr>
          <p:cNvPr id="4" name="Text Placeholder 3"/>
          <p:cNvSpPr>
            <a:spLocks noGrp="1"/>
          </p:cNvSpPr>
          <p:nvPr>
            <p:ph type="body" sz="quarter" idx="11"/>
          </p:nvPr>
        </p:nvSpPr>
        <p:spPr>
          <a:xfrm>
            <a:off x="0" y="211562"/>
            <a:ext cx="3048001" cy="355153"/>
          </a:xfrm>
        </p:spPr>
        <p:txBody>
          <a:bodyPr/>
          <a:lstStyle/>
          <a:p>
            <a:pPr marL="0" indent="0">
              <a:buNone/>
            </a:pPr>
            <a:r>
              <a:rPr lang="en-US" dirty="0"/>
              <a:t>Relational Database Engines</a:t>
            </a:r>
          </a:p>
        </p:txBody>
      </p:sp>
      <p:sp>
        <p:nvSpPr>
          <p:cNvPr id="20" name="Text Placeholder 3">
            <a:extLst>
              <a:ext uri="{FF2B5EF4-FFF2-40B4-BE49-F238E27FC236}">
                <a16:creationId xmlns:a16="http://schemas.microsoft.com/office/drawing/2014/main" id="{AFC141AE-FF1E-4339-8899-ACAF149829F8}"/>
              </a:ext>
            </a:extLst>
          </p:cNvPr>
          <p:cNvSpPr txBox="1">
            <a:spLocks/>
          </p:cNvSpPr>
          <p:nvPr/>
        </p:nvSpPr>
        <p:spPr>
          <a:xfrm>
            <a:off x="338108" y="2383180"/>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t’s a VM!</a:t>
            </a:r>
          </a:p>
        </p:txBody>
      </p:sp>
      <p:sp>
        <p:nvSpPr>
          <p:cNvPr id="21" name="Text Placeholder 3">
            <a:extLst>
              <a:ext uri="{FF2B5EF4-FFF2-40B4-BE49-F238E27FC236}">
                <a16:creationId xmlns:a16="http://schemas.microsoft.com/office/drawing/2014/main" id="{85527237-9E74-4285-ADC2-664511C3BA07}"/>
              </a:ext>
            </a:extLst>
          </p:cNvPr>
          <p:cNvSpPr txBox="1">
            <a:spLocks/>
          </p:cNvSpPr>
          <p:nvPr/>
        </p:nvSpPr>
        <p:spPr>
          <a:xfrm>
            <a:off x="4233074"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grate Fleet of Databases</a:t>
            </a:r>
          </a:p>
        </p:txBody>
      </p:sp>
      <p:sp>
        <p:nvSpPr>
          <p:cNvPr id="22" name="Text Placeholder 3">
            <a:extLst>
              <a:ext uri="{FF2B5EF4-FFF2-40B4-BE49-F238E27FC236}">
                <a16:creationId xmlns:a16="http://schemas.microsoft.com/office/drawing/2014/main" id="{84C781F8-2D37-4025-B625-A6E6BD5EB888}"/>
              </a:ext>
            </a:extLst>
          </p:cNvPr>
          <p:cNvSpPr txBox="1">
            <a:spLocks/>
          </p:cNvSpPr>
          <p:nvPr/>
        </p:nvSpPr>
        <p:spPr>
          <a:xfrm>
            <a:off x="8128039" y="2383180"/>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Fully managed Database</a:t>
            </a:r>
          </a:p>
        </p:txBody>
      </p:sp>
      <p:sp>
        <p:nvSpPr>
          <p:cNvPr id="23" name="Text Placeholder 3">
            <a:extLst>
              <a:ext uri="{FF2B5EF4-FFF2-40B4-BE49-F238E27FC236}">
                <a16:creationId xmlns:a16="http://schemas.microsoft.com/office/drawing/2014/main" id="{96A8C54B-50B2-41C2-8A4B-0021BAF4CFA5}"/>
              </a:ext>
            </a:extLst>
          </p:cNvPr>
          <p:cNvSpPr txBox="1">
            <a:spLocks/>
          </p:cNvSpPr>
          <p:nvPr/>
        </p:nvSpPr>
        <p:spPr>
          <a:xfrm>
            <a:off x="338108" y="2826469"/>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anagement of OS and SQL Server</a:t>
            </a:r>
          </a:p>
        </p:txBody>
      </p:sp>
      <p:sp>
        <p:nvSpPr>
          <p:cNvPr id="24" name="Text Placeholder 3">
            <a:extLst>
              <a:ext uri="{FF2B5EF4-FFF2-40B4-BE49-F238E27FC236}">
                <a16:creationId xmlns:a16="http://schemas.microsoft.com/office/drawing/2014/main" id="{F71FBD65-D722-4959-B8A3-4178594C973C}"/>
              </a:ext>
            </a:extLst>
          </p:cNvPr>
          <p:cNvSpPr txBox="1">
            <a:spLocks/>
          </p:cNvSpPr>
          <p:nvPr/>
        </p:nvSpPr>
        <p:spPr>
          <a:xfrm>
            <a:off x="4233074"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curity Isolation with Azure </a:t>
            </a:r>
            <a:r>
              <a:rPr kumimoji="0" lang="en-US" sz="1373" b="0" i="0" u="none" strike="noStrike" kern="1200" cap="none" spc="0" normalizeH="0" baseline="0" noProof="0" dirty="0" err="1">
                <a:ln>
                  <a:noFill/>
                </a:ln>
                <a:solidFill>
                  <a:prstClr val="white"/>
                </a:solidFill>
                <a:effectLst/>
                <a:uLnTx/>
                <a:uFillTx/>
                <a:latin typeface="Segoe UI"/>
                <a:ea typeface="+mn-ea"/>
                <a:cs typeface="+mn-cs"/>
              </a:rPr>
              <a:t>VNet</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5" name="Text Placeholder 3">
            <a:extLst>
              <a:ext uri="{FF2B5EF4-FFF2-40B4-BE49-F238E27FC236}">
                <a16:creationId xmlns:a16="http://schemas.microsoft.com/office/drawing/2014/main" id="{E9D28EF8-4128-43E5-AC7F-F32BC60F6A15}"/>
              </a:ext>
            </a:extLst>
          </p:cNvPr>
          <p:cNvSpPr txBox="1">
            <a:spLocks/>
          </p:cNvSpPr>
          <p:nvPr/>
        </p:nvSpPr>
        <p:spPr>
          <a:xfrm>
            <a:off x="8128039" y="2826469"/>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ctive Learning and Optimization</a:t>
            </a:r>
          </a:p>
        </p:txBody>
      </p:sp>
      <p:sp>
        <p:nvSpPr>
          <p:cNvPr id="26" name="Text Placeholder 3">
            <a:extLst>
              <a:ext uri="{FF2B5EF4-FFF2-40B4-BE49-F238E27FC236}">
                <a16:creationId xmlns:a16="http://schemas.microsoft.com/office/drawing/2014/main" id="{9140D95C-362B-429C-A272-0E2781B85002}"/>
              </a:ext>
            </a:extLst>
          </p:cNvPr>
          <p:cNvSpPr txBox="1">
            <a:spLocks/>
          </p:cNvSpPr>
          <p:nvPr/>
        </p:nvSpPr>
        <p:spPr>
          <a:xfrm>
            <a:off x="338109" y="3269758"/>
            <a:ext cx="3048001" cy="370381"/>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Select Version, OS, Edition</a:t>
            </a:r>
          </a:p>
        </p:txBody>
      </p:sp>
      <p:sp>
        <p:nvSpPr>
          <p:cNvPr id="27" name="Text Placeholder 3">
            <a:extLst>
              <a:ext uri="{FF2B5EF4-FFF2-40B4-BE49-F238E27FC236}">
                <a16:creationId xmlns:a16="http://schemas.microsoft.com/office/drawing/2014/main" id="{DE3708E9-B8FD-4B6F-A1FF-BF452610F0E6}"/>
              </a:ext>
            </a:extLst>
          </p:cNvPr>
          <p:cNvSpPr txBox="1">
            <a:spLocks/>
          </p:cNvSpPr>
          <p:nvPr/>
        </p:nvSpPr>
        <p:spPr>
          <a:xfrm>
            <a:off x="4233074" y="3269757"/>
            <a:ext cx="3048001" cy="813670"/>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Surface Compatibility</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SQL Agent, Profiler</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ross DB querying, CLR, Replication,</a:t>
            </a:r>
            <a:br>
              <a:rPr kumimoji="0" lang="en-US" sz="1177" b="0" i="0" u="none" strike="noStrike" kern="1200" cap="none" spc="0" normalizeH="0" baseline="0" noProof="0" dirty="0">
                <a:ln>
                  <a:noFill/>
                </a:ln>
                <a:solidFill>
                  <a:prstClr val="white"/>
                </a:solidFill>
                <a:effectLst/>
                <a:uLnTx/>
                <a:uFillTx/>
                <a:latin typeface="Segoe UI"/>
                <a:ea typeface="+mn-ea"/>
                <a:cs typeface="+mn-cs"/>
              </a:rPr>
            </a:br>
            <a:r>
              <a:rPr kumimoji="0" lang="en-US" sz="1177" b="0" i="0" u="none" strike="noStrike" kern="1200" cap="none" spc="0" normalizeH="0" baseline="0" noProof="0" dirty="0">
                <a:ln>
                  <a:noFill/>
                </a:ln>
                <a:solidFill>
                  <a:prstClr val="white"/>
                </a:solidFill>
                <a:effectLst/>
                <a:uLnTx/>
                <a:uFillTx/>
                <a:latin typeface="Segoe UI"/>
                <a:ea typeface="+mn-ea"/>
                <a:cs typeface="+mn-cs"/>
              </a:rPr>
              <a:t>CDC, Service Broker</a:t>
            </a:r>
            <a:endParaRPr kumimoji="0" lang="en-US" sz="1373" b="0" i="0" u="none" strike="noStrike" kern="1200" cap="none" spc="0" normalizeH="0" baseline="0" noProof="0" dirty="0">
              <a:ln>
                <a:noFill/>
              </a:ln>
              <a:solidFill>
                <a:prstClr val="white"/>
              </a:solidFill>
              <a:effectLst/>
              <a:uLnTx/>
              <a:uFillTx/>
              <a:latin typeface="Segoe UI"/>
              <a:ea typeface="+mn-ea"/>
              <a:cs typeface="+mn-cs"/>
            </a:endParaRPr>
          </a:p>
        </p:txBody>
      </p:sp>
      <p:sp>
        <p:nvSpPr>
          <p:cNvPr id="28" name="Text Placeholder 3">
            <a:extLst>
              <a:ext uri="{FF2B5EF4-FFF2-40B4-BE49-F238E27FC236}">
                <a16:creationId xmlns:a16="http://schemas.microsoft.com/office/drawing/2014/main" id="{7D077647-5FAF-49E6-B2D8-9D3DE9EE544B}"/>
              </a:ext>
            </a:extLst>
          </p:cNvPr>
          <p:cNvSpPr txBox="1">
            <a:spLocks/>
          </p:cNvSpPr>
          <p:nvPr/>
        </p:nvSpPr>
        <p:spPr>
          <a:xfrm>
            <a:off x="8128039" y="326975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End to End Integration</a:t>
            </a:r>
          </a:p>
        </p:txBody>
      </p:sp>
      <p:sp>
        <p:nvSpPr>
          <p:cNvPr id="31" name="Text Placeholder 3">
            <a:extLst>
              <a:ext uri="{FF2B5EF4-FFF2-40B4-BE49-F238E27FC236}">
                <a16:creationId xmlns:a16="http://schemas.microsoft.com/office/drawing/2014/main" id="{747AC177-A2CC-41BF-BA29-922F128DF82A}"/>
              </a:ext>
            </a:extLst>
          </p:cNvPr>
          <p:cNvSpPr txBox="1">
            <a:spLocks/>
          </p:cNvSpPr>
          <p:nvPr/>
        </p:nvSpPr>
        <p:spPr>
          <a:xfrm>
            <a:off x="8128039" y="3713046"/>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Intelligent Data Protection &amp; Security</a:t>
            </a:r>
          </a:p>
        </p:txBody>
      </p:sp>
      <p:sp>
        <p:nvSpPr>
          <p:cNvPr id="33" name="Text Placeholder 3">
            <a:extLst>
              <a:ext uri="{FF2B5EF4-FFF2-40B4-BE49-F238E27FC236}">
                <a16:creationId xmlns:a16="http://schemas.microsoft.com/office/drawing/2014/main" id="{3C47AA9E-7B85-41CD-A73C-9BA6F71E8071}"/>
              </a:ext>
            </a:extLst>
          </p:cNvPr>
          <p:cNvSpPr txBox="1">
            <a:spLocks/>
          </p:cNvSpPr>
          <p:nvPr/>
        </p:nvSpPr>
        <p:spPr>
          <a:xfrm>
            <a:off x="4233074"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Database sizes up to 35TB</a:t>
            </a:r>
          </a:p>
        </p:txBody>
      </p:sp>
      <p:sp>
        <p:nvSpPr>
          <p:cNvPr id="34" name="Text Placeholder 3">
            <a:extLst>
              <a:ext uri="{FF2B5EF4-FFF2-40B4-BE49-F238E27FC236}">
                <a16:creationId xmlns:a16="http://schemas.microsoft.com/office/drawing/2014/main" id="{91F6C8E4-A9A3-4151-9426-A41D53A985F9}"/>
              </a:ext>
            </a:extLst>
          </p:cNvPr>
          <p:cNvSpPr txBox="1">
            <a:spLocks/>
          </p:cNvSpPr>
          <p:nvPr/>
        </p:nvSpPr>
        <p:spPr>
          <a:xfrm>
            <a:off x="8128039" y="4156335"/>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pplication &amp; Data Modernization</a:t>
            </a:r>
          </a:p>
        </p:txBody>
      </p:sp>
      <p:sp>
        <p:nvSpPr>
          <p:cNvPr id="36" name="Text Placeholder 3">
            <a:extLst>
              <a:ext uri="{FF2B5EF4-FFF2-40B4-BE49-F238E27FC236}">
                <a16:creationId xmlns:a16="http://schemas.microsoft.com/office/drawing/2014/main" id="{A452A570-C12C-4D6A-92EB-A9C1E636EFB4}"/>
              </a:ext>
            </a:extLst>
          </p:cNvPr>
          <p:cNvSpPr txBox="1">
            <a:spLocks/>
          </p:cNvSpPr>
          <p:nvPr/>
        </p:nvSpPr>
        <p:spPr>
          <a:xfrm>
            <a:off x="4233074" y="4599624"/>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Minimize Migration Downtime</a:t>
            </a:r>
          </a:p>
        </p:txBody>
      </p:sp>
      <p:sp>
        <p:nvSpPr>
          <p:cNvPr id="37" name="Text Placeholder 3">
            <a:extLst>
              <a:ext uri="{FF2B5EF4-FFF2-40B4-BE49-F238E27FC236}">
                <a16:creationId xmlns:a16="http://schemas.microsoft.com/office/drawing/2014/main" id="{120BB604-1EA4-4052-A746-9CF602DDD9B9}"/>
              </a:ext>
            </a:extLst>
          </p:cNvPr>
          <p:cNvSpPr txBox="1">
            <a:spLocks/>
          </p:cNvSpPr>
          <p:nvPr/>
        </p:nvSpPr>
        <p:spPr>
          <a:xfrm>
            <a:off x="8128039" y="4599623"/>
            <a:ext cx="3048001" cy="670084"/>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Up to 4 TB single Databases</a:t>
            </a:r>
            <a:br>
              <a:rPr kumimoji="0" lang="en-US" sz="1373" b="0" i="0" u="none" strike="noStrike" kern="1200" cap="none" spc="0" normalizeH="0" baseline="0" noProof="0" dirty="0">
                <a:ln>
                  <a:noFill/>
                </a:ln>
                <a:solidFill>
                  <a:prstClr val="white"/>
                </a:solidFill>
                <a:effectLst/>
                <a:uLnTx/>
                <a:uFillTx/>
                <a:latin typeface="Segoe UI"/>
                <a:ea typeface="+mn-ea"/>
                <a:cs typeface="+mn-cs"/>
              </a:rPr>
            </a:br>
            <a:r>
              <a:rPr kumimoji="0" lang="en-US" sz="1373" b="0" i="0" u="none" strike="noStrike" kern="1200" cap="none" spc="0" normalizeH="0" baseline="0" noProof="0" dirty="0">
                <a:ln>
                  <a:noFill/>
                </a:ln>
                <a:solidFill>
                  <a:prstClr val="white"/>
                </a:solidFill>
                <a:effectLst/>
                <a:uLnTx/>
                <a:uFillTx/>
                <a:latin typeface="Segoe UI"/>
                <a:ea typeface="+mn-ea"/>
                <a:cs typeface="+mn-cs"/>
              </a:rPr>
              <a:t>&gt; using Elastic Scale</a:t>
            </a:r>
          </a:p>
        </p:txBody>
      </p:sp>
      <p:sp>
        <p:nvSpPr>
          <p:cNvPr id="38" name="Text Placeholder 3">
            <a:extLst>
              <a:ext uri="{FF2B5EF4-FFF2-40B4-BE49-F238E27FC236}">
                <a16:creationId xmlns:a16="http://schemas.microsoft.com/office/drawing/2014/main" id="{41D16822-D795-4031-A121-9CFC9C16A0E8}"/>
              </a:ext>
            </a:extLst>
          </p:cNvPr>
          <p:cNvSpPr txBox="1">
            <a:spLocks/>
          </p:cNvSpPr>
          <p:nvPr/>
        </p:nvSpPr>
        <p:spPr>
          <a:xfrm>
            <a:off x="338108" y="3713047"/>
            <a:ext cx="3048001" cy="1203026"/>
          </a:xfrm>
          <a:prstGeom prst="rect">
            <a:avLst/>
          </a:prstGeom>
          <a:solidFill>
            <a:schemeClr val="tx1">
              <a:lumMod val="75000"/>
            </a:schemeClr>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Single VM availability SLA: 99.9%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43 min downtime p/month)</a:t>
            </a:r>
            <a:endParaRPr kumimoji="0" lang="en-US" sz="1373" b="0" i="0" u="none" strike="noStrike" kern="1200" cap="none" spc="0" normalizeH="0" baseline="0" noProof="0" dirty="0">
              <a:ln>
                <a:noFill/>
              </a:ln>
              <a:solidFill>
                <a:sysClr val="window" lastClr="FFFFFF"/>
              </a:solidFill>
              <a:effectLst/>
              <a:uLnTx/>
              <a:uFillTx/>
              <a:latin typeface="Segoe UI"/>
              <a:ea typeface="+mn-ea"/>
              <a:cs typeface="+mn-cs"/>
            </a:endParaRPr>
          </a:p>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Multi-VM availability SLA: 99.95% </a:t>
            </a:r>
            <a:b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br>
            <a:r>
              <a:rPr kumimoji="0" lang="en-US" sz="1177" b="0" i="0" u="none" strike="noStrike" kern="1200" cap="none" spc="0" normalizeH="0" baseline="0" noProof="0" dirty="0">
                <a:ln>
                  <a:noFill/>
                </a:ln>
                <a:solidFill>
                  <a:sysClr val="window" lastClr="FFFFFF"/>
                </a:solidFill>
                <a:effectLst/>
                <a:uLnTx/>
                <a:uFillTx/>
                <a:latin typeface="Segoe UI"/>
                <a:ea typeface="+mn-ea"/>
                <a:cs typeface="+mn-cs"/>
              </a:rPr>
              <a:t>(&lt;21 min downtime p/month)</a:t>
            </a:r>
            <a:endParaRPr kumimoji="0" lang="en-US" sz="1177"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ext Placeholder 3">
            <a:extLst>
              <a:ext uri="{FF2B5EF4-FFF2-40B4-BE49-F238E27FC236}">
                <a16:creationId xmlns:a16="http://schemas.microsoft.com/office/drawing/2014/main" id="{D0A196F4-8AD8-4DDA-813D-66926F4E16D0}"/>
              </a:ext>
            </a:extLst>
          </p:cNvPr>
          <p:cNvSpPr txBox="1">
            <a:spLocks/>
          </p:cNvSpPr>
          <p:nvPr/>
        </p:nvSpPr>
        <p:spPr>
          <a:xfrm>
            <a:off x="8128039" y="5909568"/>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sysClr val="window" lastClr="FFFFFF"/>
                </a:solidFill>
                <a:effectLst/>
                <a:uLnTx/>
                <a:uFillTx/>
                <a:latin typeface="Segoe UI"/>
                <a:ea typeface="+mn-ea"/>
                <a:cs typeface="+mn-cs"/>
              </a:rPr>
              <a:t>Database availability SLA: 99.99%</a:t>
            </a:r>
          </a:p>
        </p:txBody>
      </p:sp>
      <p:sp>
        <p:nvSpPr>
          <p:cNvPr id="42" name="Text Placeholder 3">
            <a:extLst>
              <a:ext uri="{FF2B5EF4-FFF2-40B4-BE49-F238E27FC236}">
                <a16:creationId xmlns:a16="http://schemas.microsoft.com/office/drawing/2014/main" id="{1AABD06C-165F-4C49-BDD3-B6A61F457695}"/>
              </a:ext>
            </a:extLst>
          </p:cNvPr>
          <p:cNvSpPr txBox="1">
            <a:spLocks/>
          </p:cNvSpPr>
          <p:nvPr/>
        </p:nvSpPr>
        <p:spPr>
          <a:xfrm>
            <a:off x="338109" y="1806383"/>
            <a:ext cx="3048001" cy="370381"/>
          </a:xfrm>
          <a:prstGeom prst="rect">
            <a:avLst/>
          </a:prstGeom>
          <a:solidFill>
            <a:schemeClr val="tx2"/>
          </a:solidFill>
          <a:ln w="12700" cap="flat" cmpd="sng" algn="ctr">
            <a:noFill/>
            <a:prstDash val="solid"/>
            <a:miter lim="800000"/>
          </a:ln>
          <a:effectLst/>
        </p:spPr>
        <p:txBody>
          <a:bodyPr vert="horz" wrap="square"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SQL Server in Azure VM</a:t>
            </a:r>
          </a:p>
        </p:txBody>
      </p:sp>
      <p:sp>
        <p:nvSpPr>
          <p:cNvPr id="43" name="Text Placeholder 3">
            <a:extLst>
              <a:ext uri="{FF2B5EF4-FFF2-40B4-BE49-F238E27FC236}">
                <a16:creationId xmlns:a16="http://schemas.microsoft.com/office/drawing/2014/main" id="{B0255B3E-2DC9-4876-8F78-836CA436DDC5}"/>
              </a:ext>
            </a:extLst>
          </p:cNvPr>
          <p:cNvSpPr txBox="1">
            <a:spLocks/>
          </p:cNvSpPr>
          <p:nvPr/>
        </p:nvSpPr>
        <p:spPr>
          <a:xfrm>
            <a:off x="4233074"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Segoe UI"/>
                <a:ea typeface="+mn-ea"/>
                <a:cs typeface="+mn-cs"/>
              </a:rPr>
              <a:t>Azure SQL Database Managed Instance</a:t>
            </a:r>
          </a:p>
        </p:txBody>
      </p:sp>
      <p:sp>
        <p:nvSpPr>
          <p:cNvPr id="44" name="Text Placeholder 3">
            <a:extLst>
              <a:ext uri="{FF2B5EF4-FFF2-40B4-BE49-F238E27FC236}">
                <a16:creationId xmlns:a16="http://schemas.microsoft.com/office/drawing/2014/main" id="{7F05CE93-90CA-4456-A28E-203019F02DCE}"/>
              </a:ext>
            </a:extLst>
          </p:cNvPr>
          <p:cNvSpPr txBox="1">
            <a:spLocks/>
          </p:cNvSpPr>
          <p:nvPr/>
        </p:nvSpPr>
        <p:spPr>
          <a:xfrm>
            <a:off x="8128039" y="1806383"/>
            <a:ext cx="3048001" cy="370381"/>
          </a:xfrm>
          <a:prstGeom prst="rect">
            <a:avLst/>
          </a:prstGeom>
          <a:solidFill>
            <a:schemeClr val="tx2"/>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569" b="0" i="0" u="none" strike="noStrike" kern="1200" cap="none" spc="0" normalizeH="0" baseline="0" noProof="0" dirty="0">
                <a:ln>
                  <a:noFill/>
                </a:ln>
                <a:solidFill>
                  <a:prstClr val="white"/>
                </a:solidFill>
                <a:effectLst/>
                <a:uLnTx/>
                <a:uFillTx/>
                <a:latin typeface="Segoe UI"/>
                <a:ea typeface="+mn-ea"/>
                <a:cs typeface="+mn-cs"/>
              </a:rPr>
              <a:t>Azure SQL Database</a:t>
            </a:r>
          </a:p>
        </p:txBody>
      </p:sp>
      <p:sp>
        <p:nvSpPr>
          <p:cNvPr id="45" name="Text Placeholder 3">
            <a:extLst>
              <a:ext uri="{FF2B5EF4-FFF2-40B4-BE49-F238E27FC236}">
                <a16:creationId xmlns:a16="http://schemas.microsoft.com/office/drawing/2014/main" id="{EED7549C-3001-40E5-A641-DC4793516F9E}"/>
              </a:ext>
            </a:extLst>
          </p:cNvPr>
          <p:cNvSpPr txBox="1">
            <a:spLocks/>
          </p:cNvSpPr>
          <p:nvPr/>
        </p:nvSpPr>
        <p:spPr>
          <a:xfrm>
            <a:off x="8128038" y="5347851"/>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Geo-DR</a:t>
            </a:r>
          </a:p>
        </p:txBody>
      </p:sp>
      <p:sp>
        <p:nvSpPr>
          <p:cNvPr id="10" name="Rectangle 9">
            <a:extLst>
              <a:ext uri="{FF2B5EF4-FFF2-40B4-BE49-F238E27FC236}">
                <a16:creationId xmlns:a16="http://schemas.microsoft.com/office/drawing/2014/main" id="{40D5F895-2610-4506-BBA3-BD6540505A51}"/>
              </a:ext>
            </a:extLst>
          </p:cNvPr>
          <p:cNvSpPr/>
          <p:nvPr/>
        </p:nvSpPr>
        <p:spPr>
          <a:xfrm>
            <a:off x="6927634" y="1867095"/>
            <a:ext cx="468815" cy="248956"/>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030" b="1" i="0" u="none" strike="noStrike" kern="1200" cap="none" spc="0" normalizeH="0" baseline="100000" noProof="0" dirty="0">
                <a:ln>
                  <a:noFill/>
                </a:ln>
                <a:solidFill>
                  <a:srgbClr val="FFFFFF"/>
                </a:solidFill>
                <a:effectLst/>
                <a:uLnTx/>
                <a:uFillTx/>
                <a:latin typeface="Segoe UI"/>
                <a:ea typeface="+mn-ea"/>
                <a:cs typeface="+mn-cs"/>
              </a:rPr>
              <a:t>NEW*</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Text Placeholder 3">
            <a:extLst>
              <a:ext uri="{FF2B5EF4-FFF2-40B4-BE49-F238E27FC236}">
                <a16:creationId xmlns:a16="http://schemas.microsoft.com/office/drawing/2014/main" id="{ED6737DA-DFB6-43EA-8B44-A2E4F2F671A5}"/>
              </a:ext>
            </a:extLst>
          </p:cNvPr>
          <p:cNvSpPr txBox="1">
            <a:spLocks/>
          </p:cNvSpPr>
          <p:nvPr/>
        </p:nvSpPr>
        <p:spPr>
          <a:xfrm>
            <a:off x="4233073" y="5042913"/>
            <a:ext cx="3048001" cy="370381"/>
          </a:xfrm>
          <a:prstGeom prst="rect">
            <a:avLst/>
          </a:prstGeom>
          <a:solidFill>
            <a:schemeClr val="tx1">
              <a:lumMod val="75000"/>
            </a:schemeClr>
          </a:solidFill>
          <a:ln w="12700" cap="flat" cmpd="sng" algn="ctr">
            <a:noFill/>
            <a:prstDash val="solid"/>
            <a:miter lim="800000"/>
          </a:ln>
          <a:effectLst/>
        </p:spPr>
        <p:txBody>
          <a:bodyPr vert="horz" lIns="179308" tIns="44827" rIns="0" bIns="44827" rtlCol="0" anchor="ctr">
            <a:noAutofit/>
          </a:bodyPr>
          <a:lst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kumimoji="0" lang="en-US" sz="1428" b="0" i="0" u="none" strike="noStrike" kern="1200" cap="none" spc="0" normalizeH="0" baseline="0" dirty="0">
                <a:ln>
                  <a:noFill/>
                </a:ln>
                <a:solidFill>
                  <a:prstClr val="white"/>
                </a:solidFill>
                <a:effectLst/>
                <a:uLnTx/>
                <a:uFillTx/>
                <a:latin typeface="Segoe UI"/>
                <a:ea typeface="+mn-ea"/>
                <a:cs typeface="+mn-cs"/>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lt1"/>
                </a:solidFill>
                <a:latin typeface="+mn-lt"/>
                <a:ea typeface="+mn-ea"/>
                <a:cs typeface="+mn-cs"/>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lt1"/>
                </a:solidFill>
                <a:latin typeface="+mn-lt"/>
                <a:ea typeface="+mn-ea"/>
                <a:cs typeface="+mn-cs"/>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lt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lt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
                <a:srgbClr val="70C7FF"/>
              </a:buClr>
              <a:buSzTx/>
              <a:buFont typeface="Arial" panose="020B0604020202020204" pitchFamily="34" charset="0"/>
              <a:buNone/>
              <a:tabLst/>
              <a:defRPr/>
            </a:pPr>
            <a:r>
              <a:rPr kumimoji="0" lang="en-US" sz="1373" b="0" i="0" u="none" strike="noStrike" kern="1200" cap="none" spc="0" normalizeH="0" baseline="0" noProof="0" dirty="0">
                <a:ln>
                  <a:noFill/>
                </a:ln>
                <a:solidFill>
                  <a:prstClr val="white"/>
                </a:solidFill>
                <a:effectLst/>
                <a:uLnTx/>
                <a:uFillTx/>
                <a:latin typeface="Segoe UI"/>
                <a:ea typeface="+mn-ea"/>
                <a:cs typeface="+mn-cs"/>
              </a:rPr>
              <a:t>All Azure SQL Database features</a:t>
            </a:r>
          </a:p>
        </p:txBody>
      </p:sp>
    </p:spTree>
    <p:extLst>
      <p:ext uri="{BB962C8B-B14F-4D97-AF65-F5344CB8AC3E}">
        <p14:creationId xmlns:p14="http://schemas.microsoft.com/office/powerpoint/2010/main" val="379856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7" grpId="0" animBg="1"/>
      <p:bldP spid="33" grpId="0" animBg="1"/>
      <p:bldP spid="36" grpId="0" animBg="1"/>
      <p:bldP spid="43" grpId="0" animBg="1"/>
      <p:bldP spid="10" grpId="0"/>
      <p:bldP spid="2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84476-CA87-4F27-BB59-0E4D2A239978}"/>
              </a:ext>
            </a:extLst>
          </p:cNvPr>
          <p:cNvSpPr>
            <a:spLocks noGrp="1"/>
          </p:cNvSpPr>
          <p:nvPr>
            <p:ph type="title"/>
          </p:nvPr>
        </p:nvSpPr>
        <p:spPr/>
        <p:txBody>
          <a:bodyPr/>
          <a:lstStyle/>
          <a:p>
            <a:r>
              <a:rPr lang="en-US" dirty="0"/>
              <a:t>Easy migration: nearly 100% like SQL Server</a:t>
            </a:r>
          </a:p>
        </p:txBody>
      </p:sp>
      <p:sp>
        <p:nvSpPr>
          <p:cNvPr id="4" name="TextBox 3">
            <a:extLst>
              <a:ext uri="{FF2B5EF4-FFF2-40B4-BE49-F238E27FC236}">
                <a16:creationId xmlns:a16="http://schemas.microsoft.com/office/drawing/2014/main" id="{02DC6922-CCC4-41EE-A7DD-DF53A63789AE}"/>
              </a:ext>
            </a:extLst>
          </p:cNvPr>
          <p:cNvSpPr txBox="1"/>
          <p:nvPr/>
        </p:nvSpPr>
        <p:spPr>
          <a:xfrm>
            <a:off x="321558" y="5573989"/>
            <a:ext cx="11226071" cy="142112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Supports compatibility modes (SQL Server 2005+)</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2353" b="1"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mn-cs"/>
              </a:rPr>
              <a:t>Note: features will be added in stages until General Availability of Managed Instance</a:t>
            </a:r>
            <a:endParaRPr kumimoji="0" lang="en-US" sz="2353"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751A6827-AD38-428F-B793-502FB1930CD8}"/>
              </a:ext>
            </a:extLst>
          </p:cNvPr>
          <p:cNvSpPr/>
          <p:nvPr/>
        </p:nvSpPr>
        <p:spPr bwMode="auto">
          <a:xfrm>
            <a:off x="493345" y="1710853"/>
            <a:ext cx="3735103" cy="1344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 migration</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ative backup/re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og shipping (DMS)</a:t>
            </a:r>
          </a:p>
        </p:txBody>
      </p:sp>
      <p:sp>
        <p:nvSpPr>
          <p:cNvPr id="7" name="Rectangle 6">
            <a:extLst>
              <a:ext uri="{FF2B5EF4-FFF2-40B4-BE49-F238E27FC236}">
                <a16:creationId xmlns:a16="http://schemas.microsoft.com/office/drawing/2014/main" id="{D85C2B2D-ECA1-4E6D-8523-83EFD1D7EC6B}"/>
              </a:ext>
            </a:extLst>
          </p:cNvPr>
          <p:cNvSpPr/>
          <p:nvPr/>
        </p:nvSpPr>
        <p:spPr bwMode="auto">
          <a:xfrm>
            <a:off x="493345" y="3130192"/>
            <a:ext cx="3735103" cy="2241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ogrammability</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Global temp table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ross-database queries and transaction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nked servers</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LR modules</a:t>
            </a:r>
          </a:p>
        </p:txBody>
      </p:sp>
      <p:sp>
        <p:nvSpPr>
          <p:cNvPr id="8" name="Rectangle 7">
            <a:extLst>
              <a:ext uri="{FF2B5EF4-FFF2-40B4-BE49-F238E27FC236}">
                <a16:creationId xmlns:a16="http://schemas.microsoft.com/office/drawing/2014/main" id="{A879F365-E609-470B-B13D-4CD86594FA10}"/>
              </a:ext>
            </a:extLst>
          </p:cNvPr>
          <p:cNvSpPr/>
          <p:nvPr/>
        </p:nvSpPr>
        <p:spPr bwMode="auto">
          <a:xfrm>
            <a:off x="4303150" y="1710853"/>
            <a:ext cx="7544909" cy="1344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2"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ecurity</a:t>
            </a:r>
            <a:r>
              <a:rPr kumimoji="0" lang="en-US" sz="2353"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TD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SQL Audit</a:t>
            </a:r>
          </a:p>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solidFill>
                  <a:srgbClr val="353535"/>
                </a:solidFill>
                <a:effectLst/>
                <a:uLnTx/>
                <a:uFillTx/>
                <a:latin typeface="Segoe UI Semilight"/>
                <a:ea typeface="+mn-ea"/>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Row level security</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Always Encrypted</a:t>
            </a:r>
          </a:p>
        </p:txBody>
      </p:sp>
      <p:sp>
        <p:nvSpPr>
          <p:cNvPr id="9" name="Rectangle 8">
            <a:extLst>
              <a:ext uri="{FF2B5EF4-FFF2-40B4-BE49-F238E27FC236}">
                <a16:creationId xmlns:a16="http://schemas.microsoft.com/office/drawing/2014/main" id="{DCFDE851-73E2-4D10-9EE5-A554A7BCF7E8}"/>
              </a:ext>
            </a:extLst>
          </p:cNvPr>
          <p:cNvSpPr/>
          <p:nvPr/>
        </p:nvSpPr>
        <p:spPr bwMode="auto">
          <a:xfrm>
            <a:off x="4303151" y="3130192"/>
            <a:ext cx="3735103" cy="224106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perational</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MVs &amp; XEvents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Query Sto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QL Agent</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B Mail (external SMTP)</a:t>
            </a:r>
          </a:p>
        </p:txBody>
      </p:sp>
      <p:sp>
        <p:nvSpPr>
          <p:cNvPr id="10" name="Rectangle 9">
            <a:extLst>
              <a:ext uri="{FF2B5EF4-FFF2-40B4-BE49-F238E27FC236}">
                <a16:creationId xmlns:a16="http://schemas.microsoft.com/office/drawing/2014/main" id="{CB2F7872-1A5D-4FB0-A7B8-FD19EEE4D23F}"/>
              </a:ext>
            </a:extLst>
          </p:cNvPr>
          <p:cNvSpPr/>
          <p:nvPr/>
        </p:nvSpPr>
        <p:spPr bwMode="auto">
          <a:xfrm>
            <a:off x="8112956" y="3130192"/>
            <a:ext cx="3735103" cy="22410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588"/>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enario enablers</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rvice Broker</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hange Data Capture</a:t>
            </a:r>
          </a:p>
          <a:p>
            <a:pPr marL="336145" marR="0" lvl="0" indent="-336145" algn="l" defTabSz="91410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25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ransactional Replication</a:t>
            </a:r>
          </a:p>
        </p:txBody>
      </p:sp>
    </p:spTree>
    <p:extLst>
      <p:ext uri="{BB962C8B-B14F-4D97-AF65-F5344CB8AC3E}">
        <p14:creationId xmlns:p14="http://schemas.microsoft.com/office/powerpoint/2010/main" val="53815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7"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353535"/>
                </a:solidFill>
                <a:latin typeface="Segoe UI Light" panose="020B0502040204020203" pitchFamily="34" charset="0"/>
                <a:cs typeface="Segoe UI Light" panose="020B0502040204020203" pitchFamily="34" charset="0"/>
              </a:rPr>
              <a:t>SSAS/Azure Analysis Services Cubes</a:t>
            </a:r>
          </a:p>
        </p:txBody>
      </p:sp>
      <p:sp>
        <p:nvSpPr>
          <p:cNvPr id="4" name="Content Placeholder 3"/>
          <p:cNvSpPr>
            <a:spLocks noGrp="1"/>
          </p:cNvSpPr>
          <p:nvPr>
            <p:ph idx="1"/>
          </p:nvPr>
        </p:nvSpPr>
        <p:spPr/>
        <p:txBody>
          <a:bodyPr/>
          <a:lstStyle/>
          <a:p>
            <a:pPr>
              <a:buClr>
                <a:srgbClr val="00B0F0"/>
              </a:buClr>
            </a:pPr>
            <a:r>
              <a:rPr lang="en-US" sz="2800" dirty="0">
                <a:solidFill>
                  <a:srgbClr val="353535"/>
                </a:solidFill>
                <a:latin typeface="Segoe UI Light" panose="020B0502040204020203" pitchFamily="34" charset="0"/>
                <a:cs typeface="Segoe UI Light" panose="020B0502040204020203" pitchFamily="34" charset="0"/>
              </a:rPr>
              <a:t>Reasons to report off cubes instead of the data warehous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mantic layer</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andle many concurrent user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ggregating data for performance</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Multidimensional analysi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No joins or relationship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Hierarchies, KPI’s</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ecurity</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Advanced time-calculations </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Slowly Changing Dimensions (SCD)</a:t>
            </a:r>
          </a:p>
          <a:p>
            <a:pPr marL="342900" indent="-342900">
              <a:buClr>
                <a:srgbClr val="595959"/>
              </a:buClr>
              <a:buFont typeface="Wingdings" pitchFamily="2" charset="2"/>
              <a:buChar char="§"/>
            </a:pPr>
            <a:r>
              <a:rPr lang="en-US" sz="2000" dirty="0">
                <a:solidFill>
                  <a:srgbClr val="353535"/>
                </a:solidFill>
                <a:latin typeface="Segoe UI Light" panose="020B0502040204020203" pitchFamily="34" charset="0"/>
                <a:cs typeface="Segoe UI Light" panose="020B0502040204020203" pitchFamily="34" charset="0"/>
              </a:rPr>
              <a:t>Required for some reporting tools</a:t>
            </a:r>
          </a:p>
          <a:p>
            <a:endParaRPr lang="en-US" dirty="0">
              <a:solidFill>
                <a:srgbClr val="353535"/>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241385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8" name="Rectangle 157">
            <a:extLst>
              <a:ext uri="{FF2B5EF4-FFF2-40B4-BE49-F238E27FC236}">
                <a16:creationId xmlns:a16="http://schemas.microsoft.com/office/drawing/2014/main" id="{255FB281-6066-46B8-B906-F52DBD3A3FC7}"/>
              </a:ext>
            </a:extLst>
          </p:cNvPr>
          <p:cNvSpPr/>
          <p:nvPr/>
        </p:nvSpPr>
        <p:spPr bwMode="auto">
          <a:xfrm>
            <a:off x="1770743" y="1970558"/>
            <a:ext cx="7997373" cy="2575703"/>
          </a:xfrm>
          <a:prstGeom prst="rect">
            <a:avLst/>
          </a:prstGeom>
          <a:solidFill>
            <a:srgbClr val="CBECDA"/>
          </a:solidFill>
          <a:ln w="19050">
            <a:solidFill>
              <a:srgbClr val="66C49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BAA19A2-CEFB-4AFD-B754-BD15EA488B7F}"/>
              </a:ext>
            </a:extLst>
          </p:cNvPr>
          <p:cNvSpPr/>
          <p:nvPr/>
        </p:nvSpPr>
        <p:spPr bwMode="auto">
          <a:xfrm>
            <a:off x="2082801" y="2206173"/>
            <a:ext cx="2368793" cy="2163831"/>
          </a:xfrm>
          <a:prstGeom prst="rect">
            <a:avLst/>
          </a:prstGeom>
          <a:solidFill>
            <a:srgbClr val="E1D2E4"/>
          </a:solidFill>
          <a:ln w="19050">
            <a:solidFill>
              <a:srgbClr val="A379A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Instance subnet</a:t>
            </a:r>
          </a:p>
        </p:txBody>
      </p:sp>
      <p:cxnSp>
        <p:nvCxnSpPr>
          <p:cNvPr id="123" name="Connector: Elbow 122">
            <a:extLst>
              <a:ext uri="{FF2B5EF4-FFF2-40B4-BE49-F238E27FC236}">
                <a16:creationId xmlns:a16="http://schemas.microsoft.com/office/drawing/2014/main" id="{9656BC17-EA87-4A8F-A74E-FCD1A8BA72E5}"/>
              </a:ext>
            </a:extLst>
          </p:cNvPr>
          <p:cNvCxnSpPr>
            <a:cxnSpLocks/>
            <a:stCxn id="48" idx="1"/>
            <a:endCxn id="13" idx="2"/>
          </p:cNvCxnSpPr>
          <p:nvPr/>
        </p:nvCxnSpPr>
        <p:spPr>
          <a:xfrm rot="10800000">
            <a:off x="3493533" y="3809616"/>
            <a:ext cx="1654242" cy="147659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0E42961-634F-45EF-8506-0EF2D31D4610}"/>
              </a:ext>
            </a:extLst>
          </p:cNvPr>
          <p:cNvGrpSpPr/>
          <p:nvPr/>
        </p:nvGrpSpPr>
        <p:grpSpPr>
          <a:xfrm>
            <a:off x="2837745" y="2621375"/>
            <a:ext cx="1311576" cy="1188240"/>
            <a:chOff x="1873698" y="1697824"/>
            <a:chExt cx="983682" cy="891180"/>
          </a:xfrm>
        </p:grpSpPr>
        <p:sp>
          <p:nvSpPr>
            <p:cNvPr id="13" name="TextBox 12"/>
            <p:cNvSpPr txBox="1"/>
            <p:nvPr/>
          </p:nvSpPr>
          <p:spPr>
            <a:xfrm>
              <a:off x="1873698" y="2384044"/>
              <a:ext cx="983682" cy="20496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7DA4"/>
                  </a:solidFill>
                  <a:effectLst/>
                  <a:uLnTx/>
                  <a:uFillTx/>
                  <a:latin typeface="Segoe UI"/>
                  <a:ea typeface="+mn-ea"/>
                  <a:cs typeface="+mn-cs"/>
                </a:rPr>
                <a:t>SQL Instance #1</a:t>
              </a:r>
            </a:p>
          </p:txBody>
        </p:sp>
        <p:graphicFrame>
          <p:nvGraphicFramePr>
            <p:cNvPr id="130" name="Object 129">
              <a:extLst>
                <a:ext uri="{FF2B5EF4-FFF2-40B4-BE49-F238E27FC236}">
                  <a16:creationId xmlns:a16="http://schemas.microsoft.com/office/drawing/2014/main" id="{D6B76B6E-EB75-4ECE-A41B-82DDF91D081D}"/>
                </a:ext>
              </a:extLst>
            </p:cNvPr>
            <p:cNvGraphicFramePr>
              <a:graphicFrameLocks noChangeAspect="1"/>
            </p:cNvGraphicFramePr>
            <p:nvPr>
              <p:extLst/>
            </p:nvPr>
          </p:nvGraphicFramePr>
          <p:xfrm>
            <a:off x="2001876" y="1697824"/>
            <a:ext cx="727324" cy="680398"/>
          </p:xfrm>
          <a:graphic>
            <a:graphicData uri="http://schemas.openxmlformats.org/presentationml/2006/ole">
              <mc:AlternateContent xmlns:mc="http://schemas.openxmlformats.org/markup-compatibility/2006">
                <mc:Choice xmlns:v="urn:schemas-microsoft-com:vml" Requires="v">
                  <p:oleObj spid="_x0000_s5122" name="CorelDRAW" r:id="rId4" imgW="344317" imgH="322489" progId="CorelDraw.Graphic.17">
                    <p:embed/>
                  </p:oleObj>
                </mc:Choice>
                <mc:Fallback>
                  <p:oleObj name="CorelDRAW" r:id="rId4" imgW="344317" imgH="322489" progId="CorelDraw.Graphic.17">
                    <p:embed/>
                    <p:pic>
                      <p:nvPicPr>
                        <p:cNvPr id="130" name="Object 129">
                          <a:extLst>
                            <a:ext uri="{FF2B5EF4-FFF2-40B4-BE49-F238E27FC236}">
                              <a16:creationId xmlns:a16="http://schemas.microsoft.com/office/drawing/2014/main" id="{D6B76B6E-EB75-4ECE-A41B-82DDF91D081D}"/>
                            </a:ext>
                          </a:extLst>
                        </p:cNvPr>
                        <p:cNvPicPr/>
                        <p:nvPr/>
                      </p:nvPicPr>
                      <p:blipFill>
                        <a:blip r:embed="rId5"/>
                        <a:stretch>
                          <a:fillRect/>
                        </a:stretch>
                      </p:blipFill>
                      <p:spPr>
                        <a:xfrm>
                          <a:off x="2001876" y="1697824"/>
                          <a:ext cx="727324" cy="680398"/>
                        </a:xfrm>
                        <a:prstGeom prst="rect">
                          <a:avLst/>
                        </a:prstGeom>
                      </p:spPr>
                    </p:pic>
                  </p:oleObj>
                </mc:Fallback>
              </mc:AlternateContent>
            </a:graphicData>
          </a:graphic>
        </p:graphicFrame>
      </p:grpSp>
      <p:sp>
        <p:nvSpPr>
          <p:cNvPr id="47" name="TextBox 46">
            <a:extLst>
              <a:ext uri="{FF2B5EF4-FFF2-40B4-BE49-F238E27FC236}">
                <a16:creationId xmlns:a16="http://schemas.microsoft.com/office/drawing/2014/main" id="{A97E1229-1640-4B27-9AEC-EAA718E69075}"/>
              </a:ext>
            </a:extLst>
          </p:cNvPr>
          <p:cNvSpPr txBox="1"/>
          <p:nvPr/>
        </p:nvSpPr>
        <p:spPr>
          <a:xfrm>
            <a:off x="4875939" y="5682960"/>
            <a:ext cx="1321196"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torage account</a:t>
            </a:r>
          </a:p>
        </p:txBody>
      </p:sp>
      <p:cxnSp>
        <p:nvCxnSpPr>
          <p:cNvPr id="50" name="Connector: Elbow 49">
            <a:extLst>
              <a:ext uri="{FF2B5EF4-FFF2-40B4-BE49-F238E27FC236}">
                <a16:creationId xmlns:a16="http://schemas.microsoft.com/office/drawing/2014/main" id="{CD716779-2D3F-43EE-B2B1-F1B46ECBEDE9}"/>
              </a:ext>
            </a:extLst>
          </p:cNvPr>
          <p:cNvCxnSpPr>
            <a:cxnSpLocks/>
            <a:stCxn id="2" idx="2"/>
            <a:endCxn id="48" idx="3"/>
          </p:cNvCxnSpPr>
          <p:nvPr/>
        </p:nvCxnSpPr>
        <p:spPr>
          <a:xfrm rot="5400000">
            <a:off x="6341919" y="3794427"/>
            <a:ext cx="1075167" cy="1908403"/>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48" name="Object 47">
            <a:extLst>
              <a:ext uri="{FF2B5EF4-FFF2-40B4-BE49-F238E27FC236}">
                <a16:creationId xmlns:a16="http://schemas.microsoft.com/office/drawing/2014/main" id="{9133C9A1-BC87-4C75-B79D-6DCE760126A8}"/>
              </a:ext>
            </a:extLst>
          </p:cNvPr>
          <p:cNvGraphicFramePr>
            <a:graphicFrameLocks noChangeAspect="1"/>
          </p:cNvGraphicFramePr>
          <p:nvPr>
            <p:extLst/>
          </p:nvPr>
        </p:nvGraphicFramePr>
        <p:xfrm>
          <a:off x="5147775" y="4943008"/>
          <a:ext cx="777525" cy="686408"/>
        </p:xfrm>
        <a:graphic>
          <a:graphicData uri="http://schemas.openxmlformats.org/presentationml/2006/ole">
            <mc:AlternateContent xmlns:mc="http://schemas.openxmlformats.org/markup-compatibility/2006">
              <mc:Choice xmlns:v="urn:schemas-microsoft-com:vml" Requires="v">
                <p:oleObj spid="_x0000_s5123" name="CorelDRAW" r:id="rId6" imgW="608987" imgH="538435" progId="CorelDraw.Graphic.17">
                  <p:embed/>
                </p:oleObj>
              </mc:Choice>
              <mc:Fallback>
                <p:oleObj name="CorelDRAW" r:id="rId6" imgW="608987" imgH="538435" progId="CorelDraw.Graphic.17">
                  <p:embed/>
                  <p:pic>
                    <p:nvPicPr>
                      <p:cNvPr id="48" name="Object 47">
                        <a:extLst>
                          <a:ext uri="{FF2B5EF4-FFF2-40B4-BE49-F238E27FC236}">
                            <a16:creationId xmlns:a16="http://schemas.microsoft.com/office/drawing/2014/main" id="{9133C9A1-BC87-4C75-B79D-6DCE760126A8}"/>
                          </a:ext>
                        </a:extLst>
                      </p:cNvPr>
                      <p:cNvPicPr/>
                      <p:nvPr/>
                    </p:nvPicPr>
                    <p:blipFill>
                      <a:blip r:embed="rId7"/>
                      <a:stretch>
                        <a:fillRect/>
                      </a:stretch>
                    </p:blipFill>
                    <p:spPr>
                      <a:xfrm>
                        <a:off x="5147775" y="4943008"/>
                        <a:ext cx="777525" cy="686408"/>
                      </a:xfrm>
                      <a:prstGeom prst="rect">
                        <a:avLst/>
                      </a:prstGeom>
                    </p:spPr>
                  </p:pic>
                </p:oleObj>
              </mc:Fallback>
            </mc:AlternateContent>
          </a:graphicData>
        </a:graphic>
      </p:graphicFrame>
      <p:sp>
        <p:nvSpPr>
          <p:cNvPr id="20" name="Rectangle 19">
            <a:extLst/>
          </p:cNvPr>
          <p:cNvSpPr/>
          <p:nvPr/>
        </p:nvSpPr>
        <p:spPr bwMode="auto">
          <a:xfrm>
            <a:off x="6213008" y="2206174"/>
            <a:ext cx="3367593" cy="2163829"/>
          </a:xfrm>
          <a:prstGeom prst="rect">
            <a:avLst/>
          </a:prstGeom>
          <a:solidFill>
            <a:schemeClr val="accent3">
              <a:lumMod val="20000"/>
              <a:lumOff val="80000"/>
            </a:schemeClr>
          </a:solidFill>
          <a:ln w="190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r" defTabSz="91408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01820"/>
                </a:solidFill>
                <a:effectLst/>
                <a:uLnTx/>
                <a:uFillTx/>
                <a:latin typeface="Segoe UI"/>
                <a:ea typeface="Segoe UI" pitchFamily="34" charset="0"/>
                <a:cs typeface="Segoe UI" pitchFamily="34" charset="0"/>
              </a:rPr>
              <a:t>Front end subnet</a:t>
            </a:r>
          </a:p>
        </p:txBody>
      </p:sp>
      <p:sp>
        <p:nvSpPr>
          <p:cNvPr id="37" name="TextBox 36">
            <a:extLst/>
          </p:cNvPr>
          <p:cNvSpPr txBox="1"/>
          <p:nvPr/>
        </p:nvSpPr>
        <p:spPr>
          <a:xfrm>
            <a:off x="4109137" y="5381834"/>
            <a:ext cx="827470"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STORE</a:t>
            </a:r>
          </a:p>
        </p:txBody>
      </p:sp>
      <p:sp>
        <p:nvSpPr>
          <p:cNvPr id="38" name="Oval 37"/>
          <p:cNvSpPr/>
          <p:nvPr/>
        </p:nvSpPr>
        <p:spPr>
          <a:xfrm>
            <a:off x="6723486" y="538398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1</a:t>
            </a:r>
          </a:p>
        </p:txBody>
      </p:sp>
      <p:sp>
        <p:nvSpPr>
          <p:cNvPr id="39" name="Oval 38"/>
          <p:cNvSpPr/>
          <p:nvPr/>
        </p:nvSpPr>
        <p:spPr>
          <a:xfrm>
            <a:off x="3826598" y="5388177"/>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2</a:t>
            </a:r>
          </a:p>
        </p:txBody>
      </p:sp>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8093" y="4012022"/>
            <a:ext cx="278500" cy="278500"/>
          </a:xfrm>
          <a:prstGeom prst="rect">
            <a:avLst/>
          </a:prstGeom>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7197" y="4012023"/>
            <a:ext cx="278500" cy="278500"/>
          </a:xfrm>
          <a:prstGeom prst="rect">
            <a:avLst/>
          </a:prstGeom>
        </p:spPr>
      </p:pic>
      <p:sp>
        <p:nvSpPr>
          <p:cNvPr id="43" name="TextBox 42">
            <a:extLst/>
          </p:cNvPr>
          <p:cNvSpPr txBox="1"/>
          <p:nvPr/>
        </p:nvSpPr>
        <p:spPr>
          <a:xfrm>
            <a:off x="7022204" y="5385639"/>
            <a:ext cx="1550424"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BACKUP TO AZURE</a:t>
            </a:r>
          </a:p>
        </p:txBody>
      </p:sp>
      <p:cxnSp>
        <p:nvCxnSpPr>
          <p:cNvPr id="49" name="Connector: Elbow 48">
            <a:extLst/>
          </p:cNvPr>
          <p:cNvCxnSpPr>
            <a:cxnSpLocks/>
            <a:stCxn id="3" idx="1"/>
            <a:endCxn id="130" idx="3"/>
          </p:cNvCxnSpPr>
          <p:nvPr/>
        </p:nvCxnSpPr>
        <p:spPr>
          <a:xfrm rot="10800000" flipV="1">
            <a:off x="3978417" y="3074727"/>
            <a:ext cx="2419953" cy="244"/>
          </a:xfrm>
          <a:prstGeom prst="bentConnector3">
            <a:avLst>
              <a:gd name="adj1" fmla="val 50000"/>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p:cNvPr>
          <p:cNvSpPr txBox="1"/>
          <p:nvPr/>
        </p:nvSpPr>
        <p:spPr>
          <a:xfrm>
            <a:off x="7347031" y="2936008"/>
            <a:ext cx="973343"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SQL on VM</a:t>
            </a:r>
          </a:p>
        </p:txBody>
      </p:sp>
      <p:sp>
        <p:nvSpPr>
          <p:cNvPr id="56" name="TextBox 55">
            <a:extLst/>
          </p:cNvPr>
          <p:cNvSpPr txBox="1"/>
          <p:nvPr/>
        </p:nvSpPr>
        <p:spPr>
          <a:xfrm>
            <a:off x="4791781" y="2778206"/>
            <a:ext cx="1157688" cy="27328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3D65A5"/>
                </a:solidFill>
                <a:effectLst/>
                <a:uLnTx/>
                <a:uFillTx/>
                <a:latin typeface="Segoe UI"/>
                <a:ea typeface="+mn-ea"/>
                <a:cs typeface="+mn-cs"/>
              </a:rPr>
              <a:t>REPOINT APP</a:t>
            </a:r>
          </a:p>
        </p:txBody>
      </p:sp>
      <p:sp>
        <p:nvSpPr>
          <p:cNvPr id="57" name="Oval 56"/>
          <p:cNvSpPr/>
          <p:nvPr/>
        </p:nvSpPr>
        <p:spPr>
          <a:xfrm>
            <a:off x="4528243" y="2734273"/>
            <a:ext cx="300580" cy="304332"/>
          </a:xfrm>
          <a:prstGeom prst="ellipse">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01820"/>
                </a:solidFill>
                <a:effectLst/>
                <a:uLnTx/>
                <a:uFillTx/>
                <a:latin typeface="Segoe UI"/>
                <a:ea typeface="+mn-ea"/>
                <a:cs typeface="+mn-cs"/>
              </a:rPr>
              <a:t>3</a:t>
            </a:r>
          </a:p>
        </p:txBody>
      </p:sp>
      <p:sp>
        <p:nvSpPr>
          <p:cNvPr id="5" name="Title 4">
            <a:extLst>
              <a:ext uri="{FF2B5EF4-FFF2-40B4-BE49-F238E27FC236}">
                <a16:creationId xmlns:a16="http://schemas.microsoft.com/office/drawing/2014/main" id="{DAB17386-42DD-405B-B972-5C774AC3A2D2}"/>
              </a:ext>
            </a:extLst>
          </p:cNvPr>
          <p:cNvSpPr>
            <a:spLocks noGrp="1"/>
          </p:cNvSpPr>
          <p:nvPr>
            <p:ph type="title"/>
          </p:nvPr>
        </p:nvSpPr>
        <p:spPr>
          <a:xfrm>
            <a:off x="742339" y="248249"/>
            <a:ext cx="10515600" cy="1325563"/>
          </a:xfrm>
        </p:spPr>
        <p:txBody>
          <a:bodyPr/>
          <a:lstStyle/>
          <a:p>
            <a:r>
              <a:rPr lang="en-US" dirty="0"/>
              <a:t>Backup/Restore to Managed Instances</a:t>
            </a:r>
          </a:p>
        </p:txBody>
      </p:sp>
      <p:pic>
        <p:nvPicPr>
          <p:cNvPr id="3" name="Picture 2">
            <a:extLst>
              <a:ext uri="{FF2B5EF4-FFF2-40B4-BE49-F238E27FC236}">
                <a16:creationId xmlns:a16="http://schemas.microsoft.com/office/drawing/2014/main" id="{65E038DF-AB17-427A-9459-2BAD4BE4CF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8368" y="2749611"/>
            <a:ext cx="650235" cy="650235"/>
          </a:xfrm>
          <a:prstGeom prst="rect">
            <a:avLst/>
          </a:prstGeom>
        </p:spPr>
      </p:pic>
      <p:graphicFrame>
        <p:nvGraphicFramePr>
          <p:cNvPr id="2" name="Object 1">
            <a:extLst>
              <a:ext uri="{FF2B5EF4-FFF2-40B4-BE49-F238E27FC236}">
                <a16:creationId xmlns:a16="http://schemas.microsoft.com/office/drawing/2014/main" id="{EE3E7BAD-1ACB-4EB5-AF85-99C4D10C1E35}"/>
              </a:ext>
            </a:extLst>
          </p:cNvPr>
          <p:cNvGraphicFramePr>
            <a:graphicFrameLocks noChangeAspect="1"/>
          </p:cNvGraphicFramePr>
          <p:nvPr>
            <p:extLst/>
          </p:nvPr>
        </p:nvGraphicFramePr>
        <p:xfrm>
          <a:off x="7316252" y="3249717"/>
          <a:ext cx="1034901" cy="961328"/>
        </p:xfrm>
        <a:graphic>
          <a:graphicData uri="http://schemas.openxmlformats.org/presentationml/2006/ole">
            <mc:AlternateContent xmlns:mc="http://schemas.openxmlformats.org/markup-compatibility/2006">
              <mc:Choice xmlns:v="urn:schemas-microsoft-com:vml" Requires="v">
                <p:oleObj spid="_x0000_s5124" name="CorelDRAW" r:id="rId10" imgW="335331" imgH="311876" progId="CorelDraw.Graphic.17">
                  <p:embed/>
                </p:oleObj>
              </mc:Choice>
              <mc:Fallback>
                <p:oleObj name="CorelDRAW" r:id="rId10" imgW="335331" imgH="311876" progId="CorelDraw.Graphic.17">
                  <p:embed/>
                  <p:pic>
                    <p:nvPicPr>
                      <p:cNvPr id="2" name="Object 1">
                        <a:extLst>
                          <a:ext uri="{FF2B5EF4-FFF2-40B4-BE49-F238E27FC236}">
                            <a16:creationId xmlns:a16="http://schemas.microsoft.com/office/drawing/2014/main" id="{EE3E7BAD-1ACB-4EB5-AF85-99C4D10C1E35}"/>
                          </a:ext>
                        </a:extLst>
                      </p:cNvPr>
                      <p:cNvPicPr/>
                      <p:nvPr/>
                    </p:nvPicPr>
                    <p:blipFill>
                      <a:blip r:embed="rId11"/>
                      <a:stretch>
                        <a:fillRect/>
                      </a:stretch>
                    </p:blipFill>
                    <p:spPr>
                      <a:xfrm>
                        <a:off x="7316252" y="3249717"/>
                        <a:ext cx="1034901" cy="961328"/>
                      </a:xfrm>
                      <a:prstGeom prst="rect">
                        <a:avLst/>
                      </a:prstGeom>
                    </p:spPr>
                  </p:pic>
                </p:oleObj>
              </mc:Fallback>
            </mc:AlternateContent>
          </a:graphicData>
        </a:graphic>
      </p:graphicFrame>
      <p:cxnSp>
        <p:nvCxnSpPr>
          <p:cNvPr id="44" name="Connector: Elbow 43">
            <a:extLst>
              <a:ext uri="{FF2B5EF4-FFF2-40B4-BE49-F238E27FC236}">
                <a16:creationId xmlns:a16="http://schemas.microsoft.com/office/drawing/2014/main" id="{343DB3D9-5FE1-4425-A0CE-8EBDB9AE5437}"/>
              </a:ext>
            </a:extLst>
          </p:cNvPr>
          <p:cNvCxnSpPr>
            <a:cxnSpLocks/>
            <a:stCxn id="3" idx="2"/>
            <a:endCxn id="2" idx="1"/>
          </p:cNvCxnSpPr>
          <p:nvPr/>
        </p:nvCxnSpPr>
        <p:spPr>
          <a:xfrm rot="16200000" flipH="1">
            <a:off x="6854600" y="3268730"/>
            <a:ext cx="330536" cy="592767"/>
          </a:xfrm>
          <a:prstGeom prst="bentConnector2">
            <a:avLst/>
          </a:prstGeom>
          <a:ln w="38100">
            <a:solidFill>
              <a:srgbClr val="0071C5"/>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F2F8BF0E-A90A-4C38-9E6D-252CE6FADB8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9709" y="3874134"/>
            <a:ext cx="278500" cy="278500"/>
          </a:xfrm>
          <a:prstGeom prst="rect">
            <a:avLst/>
          </a:prstGeom>
        </p:spPr>
      </p:pic>
      <p:sp>
        <p:nvSpPr>
          <p:cNvPr id="4" name="TextBox 3">
            <a:extLst>
              <a:ext uri="{FF2B5EF4-FFF2-40B4-BE49-F238E27FC236}">
                <a16:creationId xmlns:a16="http://schemas.microsoft.com/office/drawing/2014/main" id="{045FFAA3-FA65-409D-82A4-43D76EB3D2C8}"/>
              </a:ext>
            </a:extLst>
          </p:cNvPr>
          <p:cNvSpPr txBox="1"/>
          <p:nvPr/>
        </p:nvSpPr>
        <p:spPr>
          <a:xfrm>
            <a:off x="1023730" y="6241774"/>
            <a:ext cx="83588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1820"/>
                </a:solidFill>
                <a:effectLst/>
                <a:uLnTx/>
                <a:uFillTx/>
                <a:latin typeface="Segoe UI"/>
                <a:ea typeface="+mn-ea"/>
                <a:cs typeface="+mn-cs"/>
              </a:rPr>
              <a:t>This can be automated with the Azure Database Migration Service </a:t>
            </a:r>
          </a:p>
        </p:txBody>
      </p:sp>
    </p:spTree>
    <p:extLst>
      <p:ext uri="{BB962C8B-B14F-4D97-AF65-F5344CB8AC3E}">
        <p14:creationId xmlns:p14="http://schemas.microsoft.com/office/powerpoint/2010/main" val="186633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50" presetClass="path" presetSubtype="0" accel="50000" decel="50000" fill="hold" nodeType="withEffect">
                                  <p:stCondLst>
                                    <p:cond delay="0"/>
                                  </p:stCondLst>
                                  <p:childTnLst>
                                    <p:animMotion origin="layout" path="M 4.72222E-6 -2.83951E-6 L 4.72222E-6 0.14198 C 4.72222E-6 0.20494 -0.06875 0.28395 -0.12466 0.28395 L -0.24931 0.28395 " pathEditMode="relative" rAng="5400000" ptsTypes="AAAA">
                                      <p:cBhvr>
                                        <p:cTn id="9" dur="2000" fill="hold"/>
                                        <p:tgtEl>
                                          <p:spTgt spid="42"/>
                                        </p:tgtEl>
                                        <p:attrNameLst>
                                          <p:attrName>ppt_x</p:attrName>
                                          <p:attrName>ppt_y</p:attrName>
                                        </p:attrNameLst>
                                      </p:cBhvr>
                                      <p:rCtr x="-12465" y="14198"/>
                                    </p:animMotion>
                                  </p:childTnLst>
                                </p:cTn>
                              </p:par>
                              <p:par>
                                <p:cTn id="10" presetID="22" presetClass="entr" presetSubtype="1"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up)">
                                      <p:cBhvr>
                                        <p:cTn id="12" dur="500"/>
                                        <p:tgtEl>
                                          <p:spTgt spid="50"/>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wipe(up)">
                                      <p:cBhvr>
                                        <p:cTn id="18" dur="500"/>
                                        <p:tgtEl>
                                          <p:spTgt spid="43"/>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23"/>
                                        </p:tgtEl>
                                        <p:attrNameLst>
                                          <p:attrName>style.visibility</p:attrName>
                                        </p:attrNameLst>
                                      </p:cBhvr>
                                      <p:to>
                                        <p:strVal val="visible"/>
                                      </p:to>
                                    </p:set>
                                    <p:animEffect transition="in" filter="wipe(down)">
                                      <p:cBhvr>
                                        <p:cTn id="26" dur="500"/>
                                        <p:tgtEl>
                                          <p:spTgt spid="123"/>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par>
                                <p:cTn id="33" presetID="50" presetClass="path" presetSubtype="0" accel="50000" decel="50000" fill="hold" nodeType="withEffect">
                                  <p:stCondLst>
                                    <p:cond delay="0"/>
                                  </p:stCondLst>
                                  <p:childTnLst>
                                    <p:animMotion origin="layout" path="M -0.26164 0.28642 L -0.35278 0.28642 C -0.39375 0.28642 -0.44428 0.20154 -0.44428 0.13302 L -0.44428 -0.02037 " pathEditMode="relative" rAng="10800000" ptsTypes="AAAA">
                                      <p:cBhvr>
                                        <p:cTn id="34" dur="2000" fill="hold"/>
                                        <p:tgtEl>
                                          <p:spTgt spid="42"/>
                                        </p:tgtEl>
                                        <p:attrNameLst>
                                          <p:attrName>ppt_x</p:attrName>
                                          <p:attrName>ppt_y</p:attrName>
                                        </p:attrNameLst>
                                      </p:cBhvr>
                                      <p:rCtr x="-9132" y="-15340"/>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44"/>
                                        </p:tgtEl>
                                      </p:cBhvr>
                                    </p:animEffect>
                                    <p:set>
                                      <p:cBhvr>
                                        <p:cTn id="39" dur="1" fill="hold">
                                          <p:stCondLst>
                                            <p:cond delay="499"/>
                                          </p:stCondLst>
                                        </p:cTn>
                                        <p:tgtEl>
                                          <p:spTgt spid="44"/>
                                        </p:tgtEl>
                                        <p:attrNameLst>
                                          <p:attrName>style.visibility</p:attrName>
                                        </p:attrNameLst>
                                      </p:cBhvr>
                                      <p:to>
                                        <p:strVal val="hidden"/>
                                      </p:to>
                                    </p:set>
                                  </p:childTnLst>
                                </p:cTn>
                              </p:par>
                              <p:par>
                                <p:cTn id="40" presetID="22" presetClass="entr" presetSubtype="2"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right)">
                                      <p:cBhvr>
                                        <p:cTn id="42" dur="500"/>
                                        <p:tgtEl>
                                          <p:spTgt spid="49"/>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wipe(right)">
                                      <p:cBhvr>
                                        <p:cTn id="45" dur="500"/>
                                        <p:tgtEl>
                                          <p:spTgt spid="56"/>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Effect transition="in" filter="wipe(right)">
                                      <p:cBhvr>
                                        <p:cTn id="4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37" grpId="0"/>
      <p:bldP spid="38" grpId="0" animBg="1"/>
      <p:bldP spid="39" grpId="0" animBg="1"/>
      <p:bldP spid="43" grpId="0"/>
      <p:bldP spid="56" grpId="0"/>
      <p:bldP spid="5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5D3F0-43A4-44BA-A741-2E1CA8CAFD16}"/>
              </a:ext>
            </a:extLst>
          </p:cNvPr>
          <p:cNvSpPr>
            <a:spLocks noGrp="1"/>
          </p:cNvSpPr>
          <p:nvPr>
            <p:ph type="title"/>
          </p:nvPr>
        </p:nvSpPr>
        <p:spPr/>
        <p:txBody>
          <a:bodyPr/>
          <a:lstStyle/>
          <a:p>
            <a:r>
              <a:rPr lang="en-US" sz="4400" dirty="0"/>
              <a:t>Easy migration: Database Migration Service (DMS)</a:t>
            </a:r>
          </a:p>
        </p:txBody>
      </p:sp>
      <p:sp>
        <p:nvSpPr>
          <p:cNvPr id="5" name="Rectangle 4">
            <a:extLst>
              <a:ext uri="{FF2B5EF4-FFF2-40B4-BE49-F238E27FC236}">
                <a16:creationId xmlns:a16="http://schemas.microsoft.com/office/drawing/2014/main" id="{88894FC1-50DF-4719-AEB2-94224E734BC2}"/>
              </a:ext>
            </a:extLst>
          </p:cNvPr>
          <p:cNvSpPr/>
          <p:nvPr/>
        </p:nvSpPr>
        <p:spPr>
          <a:xfrm>
            <a:off x="4225980" y="1469187"/>
            <a:ext cx="7964292" cy="4187962"/>
          </a:xfrm>
          <a:prstGeom prst="rect">
            <a:avLst/>
          </a:prstGeom>
        </p:spPr>
        <p:txBody>
          <a:bodyPr wrap="square" lIns="146263">
            <a:spAutoFit/>
          </a:bodyPr>
          <a:lstStyle/>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Fully managed, reliable and seamless, migration service for both operational databases and data warehouse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Minimal down time migrations</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Homogeneous and heterogeneous</a:t>
            </a:r>
            <a:b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b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1"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Public preview: SQL 2005+ to SQL DB / Managed Inst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nitial focus on reliability and performance</a:t>
            </a:r>
          </a:p>
          <a:p>
            <a:pPr marL="1250512" marR="0" lvl="2"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2353"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Iterative addition of source-target pairs</a:t>
            </a: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endParaRPr kumimoji="0" lang="en-US" sz="1176"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endParaRPr>
          </a:p>
          <a:p>
            <a:pPr marL="336145" marR="0" lvl="0" indent="-336145" algn="l" defTabSz="931969"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For more information, contact </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hlinkClick r:id="rId3"/>
              </a:rPr>
              <a:t>datamigrationteam@microsoft.com</a:t>
            </a:r>
            <a:r>
              <a:rPr kumimoji="0" lang="en-US" sz="1961" b="0" i="0" u="none" strike="noStrike" kern="0" cap="none" spc="0" normalizeH="0" baseline="0" noProof="0" dirty="0">
                <a:ln w="3175">
                  <a:noFill/>
                </a:ln>
                <a:solidFill>
                  <a:srgbClr val="353535"/>
                </a:solidFill>
                <a:effectLst/>
                <a:uLnTx/>
                <a:uFillTx/>
                <a:latin typeface="Segoe UI Light" panose="020B0502040204020203" pitchFamily="34" charset="0"/>
                <a:ea typeface="+mn-ea"/>
                <a:cs typeface="Segoe UI Light" panose="020B0502040204020203" pitchFamily="34" charset="0"/>
              </a:rPr>
              <a:t>  </a:t>
            </a:r>
          </a:p>
        </p:txBody>
      </p:sp>
      <p:grpSp>
        <p:nvGrpSpPr>
          <p:cNvPr id="32" name="Group 31">
            <a:extLst>
              <a:ext uri="{FF2B5EF4-FFF2-40B4-BE49-F238E27FC236}">
                <a16:creationId xmlns:a16="http://schemas.microsoft.com/office/drawing/2014/main" id="{DD7F3B4E-C8D4-4E4D-81AB-3B8981CCCD16}"/>
              </a:ext>
            </a:extLst>
          </p:cNvPr>
          <p:cNvGrpSpPr/>
          <p:nvPr/>
        </p:nvGrpSpPr>
        <p:grpSpPr>
          <a:xfrm>
            <a:off x="960710" y="1309941"/>
            <a:ext cx="3051748" cy="3873916"/>
            <a:chOff x="979974" y="1245399"/>
            <a:chExt cx="3112942" cy="3951596"/>
          </a:xfrm>
        </p:grpSpPr>
        <p:sp>
          <p:nvSpPr>
            <p:cNvPr id="3" name="Freeform 266">
              <a:extLst>
                <a:ext uri="{FF2B5EF4-FFF2-40B4-BE49-F238E27FC236}">
                  <a16:creationId xmlns:a16="http://schemas.microsoft.com/office/drawing/2014/main" id="{B731B328-D9C8-4E7B-886B-723E965EA8D1}"/>
                </a:ext>
              </a:extLst>
            </p:cNvPr>
            <p:cNvSpPr>
              <a:spLocks noChangeAspect="1"/>
            </p:cNvSpPr>
            <p:nvPr/>
          </p:nvSpPr>
          <p:spPr bwMode="black">
            <a:xfrm>
              <a:off x="1018752" y="125936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solidFill>
                <a:schemeClr val="tx1">
                  <a:lumMod val="40000"/>
                  <a:lumOff val="60000"/>
                </a:schemeClr>
              </a:solid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BC9DF00B-E8C6-45AC-AD10-A6F0C147314E}"/>
                </a:ext>
              </a:extLst>
            </p:cNvPr>
            <p:cNvPicPr>
              <a:picLocks noChangeAspect="1"/>
            </p:cNvPicPr>
            <p:nvPr/>
          </p:nvPicPr>
          <p:blipFill>
            <a:blip r:embed="rId4"/>
            <a:stretch>
              <a:fillRect/>
            </a:stretch>
          </p:blipFill>
          <p:spPr>
            <a:xfrm>
              <a:off x="1329868" y="3547270"/>
              <a:ext cx="1225965" cy="1641117"/>
            </a:xfrm>
            <a:prstGeom prst="rect">
              <a:avLst/>
            </a:prstGeom>
          </p:spPr>
        </p:pic>
        <p:sp>
          <p:nvSpPr>
            <p:cNvPr id="18" name="TextBox 17">
              <a:extLst>
                <a:ext uri="{FF2B5EF4-FFF2-40B4-BE49-F238E27FC236}">
                  <a16:creationId xmlns:a16="http://schemas.microsoft.com/office/drawing/2014/main" id="{DB49FB30-4EB4-45BA-A014-F383F973E419}"/>
                </a:ext>
              </a:extLst>
            </p:cNvPr>
            <p:cNvSpPr txBox="1"/>
            <p:nvPr/>
          </p:nvSpPr>
          <p:spPr>
            <a:xfrm>
              <a:off x="1473141" y="4350470"/>
              <a:ext cx="943135" cy="641241"/>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sp>
          <p:nvSpPr>
            <p:cNvPr id="19" name="Freeform 266">
              <a:extLst>
                <a:ext uri="{FF2B5EF4-FFF2-40B4-BE49-F238E27FC236}">
                  <a16:creationId xmlns:a16="http://schemas.microsoft.com/office/drawing/2014/main" id="{3C42F534-8640-4CC8-A3FD-348FC357A9A7}"/>
                </a:ext>
              </a:extLst>
            </p:cNvPr>
            <p:cNvSpPr>
              <a:spLocks noChangeAspect="1"/>
            </p:cNvSpPr>
            <p:nvPr/>
          </p:nvSpPr>
          <p:spPr bwMode="black">
            <a:xfrm>
              <a:off x="979974" y="1245399"/>
              <a:ext cx="3074164" cy="181806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2C2C2C"/>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6896CC75-D273-4F6A-96E1-814031920CDD}"/>
                </a:ext>
              </a:extLst>
            </p:cNvPr>
            <p:cNvGrpSpPr/>
            <p:nvPr/>
          </p:nvGrpSpPr>
          <p:grpSpPr>
            <a:xfrm>
              <a:off x="2677647" y="3555878"/>
              <a:ext cx="1225965" cy="1641117"/>
              <a:chOff x="10005145" y="2724746"/>
              <a:chExt cx="1183664" cy="1584487"/>
            </a:xfrm>
          </p:grpSpPr>
          <p:pic>
            <p:nvPicPr>
              <p:cNvPr id="26" name="Picture 25">
                <a:extLst>
                  <a:ext uri="{FF2B5EF4-FFF2-40B4-BE49-F238E27FC236}">
                    <a16:creationId xmlns:a16="http://schemas.microsoft.com/office/drawing/2014/main" id="{80BB41CA-2622-44D9-BB78-B7CAB20EC06D}"/>
                  </a:ext>
                </a:extLst>
              </p:cNvPr>
              <p:cNvPicPr>
                <a:picLocks noChangeAspect="1"/>
              </p:cNvPicPr>
              <p:nvPr/>
            </p:nvPicPr>
            <p:blipFill>
              <a:blip r:embed="rId5"/>
              <a:stretch>
                <a:fillRect/>
              </a:stretch>
            </p:blipFill>
            <p:spPr>
              <a:xfrm>
                <a:off x="10005145" y="2724746"/>
                <a:ext cx="1183664" cy="1584487"/>
              </a:xfrm>
              <a:prstGeom prst="rect">
                <a:avLst/>
              </a:prstGeom>
            </p:spPr>
          </p:pic>
          <p:sp>
            <p:nvSpPr>
              <p:cNvPr id="27" name="TextBox 26">
                <a:extLst>
                  <a:ext uri="{FF2B5EF4-FFF2-40B4-BE49-F238E27FC236}">
                    <a16:creationId xmlns:a16="http://schemas.microsoft.com/office/drawing/2014/main" id="{89B6134A-8759-427D-9F78-1F4E2415BF64}"/>
                  </a:ext>
                </a:extLst>
              </p:cNvPr>
              <p:cNvSpPr txBox="1"/>
              <p:nvPr/>
            </p:nvSpPr>
            <p:spPr>
              <a:xfrm>
                <a:off x="10166186" y="3500230"/>
                <a:ext cx="910592" cy="619114"/>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a:t>
                </a:r>
              </a:p>
            </p:txBody>
          </p:sp>
        </p:grpSp>
        <p:cxnSp>
          <p:nvCxnSpPr>
            <p:cNvPr id="23" name="Straight Arrow Connector 22">
              <a:extLst>
                <a:ext uri="{FF2B5EF4-FFF2-40B4-BE49-F238E27FC236}">
                  <a16:creationId xmlns:a16="http://schemas.microsoft.com/office/drawing/2014/main" id="{7E59DE9C-7538-4316-9E83-14FB1CEA283E}"/>
                </a:ext>
              </a:extLst>
            </p:cNvPr>
            <p:cNvCxnSpPr/>
            <p:nvPr/>
          </p:nvCxnSpPr>
          <p:spPr>
            <a:xfrm flipV="1">
              <a:off x="3238199" y="2778953"/>
              <a:ext cx="0" cy="1134675"/>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A1261D5-16EE-45F6-BBDE-630D7E4C9CC6}"/>
                </a:ext>
              </a:extLst>
            </p:cNvPr>
            <p:cNvPicPr>
              <a:picLocks noChangeAspect="1"/>
            </p:cNvPicPr>
            <p:nvPr/>
          </p:nvPicPr>
          <p:blipFill>
            <a:blip r:embed="rId5"/>
            <a:stretch>
              <a:fillRect/>
            </a:stretch>
          </p:blipFill>
          <p:spPr>
            <a:xfrm>
              <a:off x="2189959" y="1790712"/>
              <a:ext cx="756024" cy="1012038"/>
            </a:xfrm>
            <a:prstGeom prst="rect">
              <a:avLst/>
            </a:prstGeom>
          </p:spPr>
        </p:pic>
        <p:sp>
          <p:nvSpPr>
            <p:cNvPr id="25" name="TextBox 24">
              <a:extLst>
                <a:ext uri="{FF2B5EF4-FFF2-40B4-BE49-F238E27FC236}">
                  <a16:creationId xmlns:a16="http://schemas.microsoft.com/office/drawing/2014/main" id="{C5FA82E1-3C70-46A9-AD47-B8B22B625CE1}"/>
                </a:ext>
              </a:extLst>
            </p:cNvPr>
            <p:cNvSpPr txBox="1"/>
            <p:nvPr/>
          </p:nvSpPr>
          <p:spPr>
            <a:xfrm>
              <a:off x="2062033" y="2245649"/>
              <a:ext cx="1000357" cy="497107"/>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B</a:t>
              </a:r>
            </a:p>
          </p:txBody>
        </p:sp>
        <p:pic>
          <p:nvPicPr>
            <p:cNvPr id="28" name="Picture 27">
              <a:extLst>
                <a:ext uri="{FF2B5EF4-FFF2-40B4-BE49-F238E27FC236}">
                  <a16:creationId xmlns:a16="http://schemas.microsoft.com/office/drawing/2014/main" id="{60A36F62-72B0-4B9D-8C3D-47AF346E63E7}"/>
                </a:ext>
              </a:extLst>
            </p:cNvPr>
            <p:cNvPicPr>
              <a:picLocks noChangeAspect="1"/>
            </p:cNvPicPr>
            <p:nvPr/>
          </p:nvPicPr>
          <p:blipFill>
            <a:blip r:embed="rId4"/>
            <a:stretch>
              <a:fillRect/>
            </a:stretch>
          </p:blipFill>
          <p:spPr>
            <a:xfrm>
              <a:off x="1313668" y="3533300"/>
              <a:ext cx="1225965" cy="1641117"/>
            </a:xfrm>
            <a:prstGeom prst="rect">
              <a:avLst/>
            </a:prstGeom>
          </p:spPr>
        </p:pic>
        <p:cxnSp>
          <p:nvCxnSpPr>
            <p:cNvPr id="22" name="Straight Arrow Connector 21">
              <a:extLst>
                <a:ext uri="{FF2B5EF4-FFF2-40B4-BE49-F238E27FC236}">
                  <a16:creationId xmlns:a16="http://schemas.microsoft.com/office/drawing/2014/main" id="{DC2A7A91-2DDE-4D13-88B4-80D1C4A8C4C1}"/>
                </a:ext>
              </a:extLst>
            </p:cNvPr>
            <p:cNvCxnSpPr>
              <a:cxnSpLocks/>
            </p:cNvCxnSpPr>
            <p:nvPr/>
          </p:nvCxnSpPr>
          <p:spPr>
            <a:xfrm flipV="1">
              <a:off x="1933376" y="2778953"/>
              <a:ext cx="0" cy="1264937"/>
            </a:xfrm>
            <a:prstGeom prst="straightConnector1">
              <a:avLst/>
            </a:prstGeom>
            <a:ln w="38100">
              <a:solidFill>
                <a:srgbClr val="008A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1E0327-FB7E-4EC7-A75F-46E9D227B917}"/>
                </a:ext>
              </a:extLst>
            </p:cNvPr>
            <p:cNvSpPr txBox="1"/>
            <p:nvPr/>
          </p:nvSpPr>
          <p:spPr>
            <a:xfrm>
              <a:off x="1265237" y="4336500"/>
              <a:ext cx="1281389" cy="634490"/>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Oracle</a:t>
              </a:r>
            </a:p>
          </p:txBody>
        </p:sp>
      </p:grpSp>
    </p:spTree>
    <p:extLst>
      <p:ext uri="{BB962C8B-B14F-4D97-AF65-F5344CB8AC3E}">
        <p14:creationId xmlns:p14="http://schemas.microsoft.com/office/powerpoint/2010/main" val="173663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y migration: SSIS / SSAS / SSRS</a:t>
            </a:r>
          </a:p>
        </p:txBody>
      </p:sp>
      <p:sp>
        <p:nvSpPr>
          <p:cNvPr id="3" name="Text Placeholder 2"/>
          <p:cNvSpPr>
            <a:spLocks noGrp="1"/>
          </p:cNvSpPr>
          <p:nvPr>
            <p:ph type="body" sz="quarter" idx="10"/>
          </p:nvPr>
        </p:nvSpPr>
        <p:spPr>
          <a:xfrm>
            <a:off x="269240" y="1760518"/>
            <a:ext cx="11655078" cy="4133651"/>
          </a:xfrm>
        </p:spPr>
        <p:txBody>
          <a:bodyPr/>
          <a:lstStyle/>
          <a:p>
            <a:r>
              <a:rPr lang="en-US" sz="3137" dirty="0"/>
              <a:t>Will </a:t>
            </a:r>
            <a:r>
              <a:rPr lang="en-US" sz="3137" b="1" dirty="0"/>
              <a:t>not be installed</a:t>
            </a:r>
            <a:r>
              <a:rPr lang="en-US" sz="3137" dirty="0"/>
              <a:t> side-by-side with Managed Instance</a:t>
            </a:r>
          </a:p>
          <a:p>
            <a:endParaRPr lang="en-US" sz="3137" dirty="0"/>
          </a:p>
          <a:p>
            <a:r>
              <a:rPr lang="en-US" sz="3137" dirty="0"/>
              <a:t>Recommendation: </a:t>
            </a:r>
            <a:r>
              <a:rPr lang="en-US" sz="3137" b="1" dirty="0"/>
              <a:t>move to PaaS model</a:t>
            </a:r>
          </a:p>
          <a:p>
            <a:pPr marL="784338" lvl="1" indent="-560241">
              <a:buFont typeface="Arial" panose="020B0604020202020204" pitchFamily="34" charset="0"/>
              <a:buChar char="•"/>
            </a:pPr>
            <a:r>
              <a:rPr lang="en-US" sz="2353" dirty="0"/>
              <a:t>Migrate your SSIS packages to new SSIS on Azure Data Factory (PaaS service)</a:t>
            </a:r>
          </a:p>
          <a:p>
            <a:pPr marL="784338" lvl="1" indent="-560241">
              <a:buFont typeface="Arial" panose="020B0604020202020204" pitchFamily="34" charset="0"/>
              <a:buChar char="•"/>
            </a:pPr>
            <a:r>
              <a:rPr lang="en-US" sz="2353" dirty="0"/>
              <a:t>Migrate your OLAP models to Azure Analysis Services</a:t>
            </a:r>
          </a:p>
          <a:p>
            <a:r>
              <a:rPr lang="en-US" sz="3137" dirty="0"/>
              <a:t>… or run these services in Azure virtual machines</a:t>
            </a:r>
          </a:p>
          <a:p>
            <a:endParaRPr lang="en-US" sz="3137" dirty="0"/>
          </a:p>
          <a:p>
            <a:r>
              <a:rPr lang="en-US" sz="3137" dirty="0"/>
              <a:t>For SSRS: run in a virtual machine, or switch to Power BI</a:t>
            </a:r>
          </a:p>
        </p:txBody>
      </p:sp>
    </p:spTree>
    <p:extLst>
      <p:ext uri="{BB962C8B-B14F-4D97-AF65-F5344CB8AC3E}">
        <p14:creationId xmlns:p14="http://schemas.microsoft.com/office/powerpoint/2010/main" val="28683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Azure Data Factory v2</a:t>
            </a:r>
          </a:p>
        </p:txBody>
      </p:sp>
    </p:spTree>
    <p:extLst>
      <p:ext uri="{BB962C8B-B14F-4D97-AF65-F5344CB8AC3E}">
        <p14:creationId xmlns:p14="http://schemas.microsoft.com/office/powerpoint/2010/main" val="19694382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68460" y="153529"/>
            <a:ext cx="11655840" cy="899537"/>
          </a:xfrm>
        </p:spPr>
        <p:txBody>
          <a:bodyPr/>
          <a:lstStyle/>
          <a:p>
            <a:r>
              <a:rPr lang="en-US" sz="3921" b="1">
                <a:solidFill>
                  <a:srgbClr val="0078D7"/>
                </a:solidFill>
              </a:rPr>
              <a:t>ADF V2 Improvements</a:t>
            </a:r>
          </a:p>
        </p:txBody>
      </p:sp>
      <p:sp>
        <p:nvSpPr>
          <p:cNvPr id="3" name="Text Placeholder 2"/>
          <p:cNvSpPr>
            <a:spLocks noGrp="1"/>
          </p:cNvSpPr>
          <p:nvPr>
            <p:ph type="body" sz="quarter" idx="10"/>
          </p:nvPr>
        </p:nvSpPr>
        <p:spPr>
          <a:xfrm>
            <a:off x="239364" y="1370139"/>
            <a:ext cx="11655078" cy="4318170"/>
          </a:xfrm>
        </p:spPr>
        <p:txBody>
          <a:bodyPr/>
          <a:lstStyle/>
          <a:p>
            <a:pPr marL="728314" indent="-728314">
              <a:buFont typeface="Wingdings" panose="05000000000000000000" pitchFamily="2" charset="2"/>
              <a:buChar char="Ø"/>
            </a:pPr>
            <a:r>
              <a:rPr lang="en-US" sz="1961" b="1">
                <a:latin typeface="+mn-lt"/>
              </a:rPr>
              <a:t>Integration Runtimes (IR) replace DMG, provide data movement and activity dispatch on-</a:t>
            </a:r>
            <a:r>
              <a:rPr lang="en-US" sz="1961" b="1" err="1">
                <a:latin typeface="+mn-lt"/>
              </a:rPr>
              <a:t>prem</a:t>
            </a:r>
            <a:r>
              <a:rPr lang="en-US" sz="1961" b="1">
                <a:latin typeface="+mn-lt"/>
              </a:rPr>
              <a:t> or in the cloud</a:t>
            </a:r>
          </a:p>
          <a:p>
            <a:pPr marL="728314" indent="-728314">
              <a:buFont typeface="Wingdings" panose="05000000000000000000" pitchFamily="2" charset="2"/>
              <a:buChar char="Ø"/>
            </a:pPr>
            <a:r>
              <a:rPr lang="en-US" sz="1961" b="1">
                <a:latin typeface="+mn-lt"/>
              </a:rPr>
              <a:t>Supports resources within virtual networks</a:t>
            </a:r>
          </a:p>
          <a:p>
            <a:pPr marL="728314" indent="-728314">
              <a:buFont typeface="Wingdings" panose="05000000000000000000" pitchFamily="2" charset="2"/>
              <a:buChar char="Ø"/>
            </a:pPr>
            <a:r>
              <a:rPr lang="en-US" sz="1961" b="1">
                <a:latin typeface="+mn-lt"/>
              </a:rPr>
              <a:t>Integration Runtime includes SSIS option to lift &amp; shift SSIS packages to the Cloud</a:t>
            </a:r>
          </a:p>
          <a:p>
            <a:pPr marL="728314" indent="-728314">
              <a:buFont typeface="Wingdings" panose="05000000000000000000" pitchFamily="2" charset="2"/>
              <a:buChar char="Ø"/>
            </a:pPr>
            <a:r>
              <a:rPr lang="en-US" sz="1961" b="1">
                <a:latin typeface="+mn-lt"/>
              </a:rPr>
              <a:t>Separation of “control flow” &amp; “data flow” capabilities for more flexible pipeline management</a:t>
            </a:r>
          </a:p>
          <a:p>
            <a:pPr marL="728314" indent="-728314">
              <a:buFont typeface="Wingdings" panose="05000000000000000000" pitchFamily="2" charset="2"/>
              <a:buChar char="Ø"/>
            </a:pPr>
            <a:r>
              <a:rPr lang="en-US" sz="1961" b="1">
                <a:latin typeface="+mn-lt"/>
              </a:rPr>
              <a:t>Looping, conditionals, dependencies, parameters</a:t>
            </a:r>
          </a:p>
          <a:p>
            <a:pPr marL="728314" indent="-728314">
              <a:buFont typeface="Wingdings" panose="05000000000000000000" pitchFamily="2" charset="2"/>
              <a:buChar char="Ø"/>
            </a:pPr>
            <a:r>
              <a:rPr lang="en-US" sz="1961" b="1">
                <a:latin typeface="+mn-lt"/>
              </a:rPr>
              <a:t>Python SDK</a:t>
            </a:r>
          </a:p>
          <a:p>
            <a:pPr marL="728314" indent="-728314">
              <a:buFont typeface="Wingdings" panose="05000000000000000000" pitchFamily="2" charset="2"/>
              <a:buChar char="Ø"/>
            </a:pPr>
            <a:r>
              <a:rPr lang="en-US" sz="1961" b="1">
                <a:latin typeface="+mn-lt"/>
              </a:rPr>
              <a:t>On-Demand Spark support</a:t>
            </a:r>
          </a:p>
          <a:p>
            <a:pPr marL="728314" indent="-728314">
              <a:buFont typeface="Wingdings" panose="05000000000000000000" pitchFamily="2" charset="2"/>
              <a:buChar char="Ø"/>
            </a:pPr>
            <a:r>
              <a:rPr lang="en-US" sz="1961" b="1">
                <a:latin typeface="+mn-lt"/>
              </a:rPr>
              <a:t>Flexible pipeline scheduling with wall-clock and triggered executions</a:t>
            </a:r>
          </a:p>
          <a:p>
            <a:pPr marL="728314" indent="-728314">
              <a:buFont typeface="Wingdings" panose="05000000000000000000" pitchFamily="2" charset="2"/>
              <a:buChar char="Ø"/>
            </a:pPr>
            <a:r>
              <a:rPr lang="en-US" sz="1961" b="1">
                <a:latin typeface="+mn-lt"/>
              </a:rPr>
              <a:t>Expanded use cases: From primarily time window-</a:t>
            </a:r>
            <a:r>
              <a:rPr lang="en-US" sz="1961" b="1">
                <a:latin typeface="+mn-lt"/>
                <a:sym typeface="Wingdings" panose="05000000000000000000" pitchFamily="2" charset="2"/>
              </a:rPr>
              <a:t>oriented pipelines, to trigger-based on-demand for more flexible ETL and data integration orchestrations</a:t>
            </a:r>
          </a:p>
          <a:p>
            <a:pPr marL="728314" indent="-728314">
              <a:buFont typeface="Wingdings" panose="05000000000000000000" pitchFamily="2" charset="2"/>
              <a:buChar char="Ø"/>
            </a:pPr>
            <a:r>
              <a:rPr lang="en-US" sz="1961" b="1">
                <a:latin typeface="+mn-lt"/>
              </a:rPr>
              <a:t>(Coming in GA) UX pipeline and data transformation builder code-free experience</a:t>
            </a:r>
          </a:p>
          <a:p>
            <a:pPr marL="728314" indent="-728314">
              <a:buFont typeface="Wingdings" panose="05000000000000000000" pitchFamily="2" charset="2"/>
              <a:buChar char="Ø"/>
            </a:pPr>
            <a:endParaRPr lang="en-US" sz="1961" b="1">
              <a:latin typeface="+mn-lt"/>
            </a:endParaRPr>
          </a:p>
        </p:txBody>
      </p:sp>
    </p:spTree>
    <p:extLst>
      <p:ext uri="{BB962C8B-B14F-4D97-AF65-F5344CB8AC3E}">
        <p14:creationId xmlns:p14="http://schemas.microsoft.com/office/powerpoint/2010/main" val="1731166559"/>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351204" y="994707"/>
          <a:ext cx="11628292" cy="5708703"/>
        </p:xfrm>
        <a:graphic>
          <a:graphicData uri="http://schemas.openxmlformats.org/drawingml/2006/table">
            <a:tbl>
              <a:tblPr firstRow="1" bandRow="1">
                <a:tableStyleId>{5C22544A-7EE6-4342-B048-85BDC9FD1C3A}</a:tableStyleId>
              </a:tblPr>
              <a:tblGrid>
                <a:gridCol w="1768159">
                  <a:extLst>
                    <a:ext uri="{9D8B030D-6E8A-4147-A177-3AD203B41FA5}">
                      <a16:colId xmlns:a16="http://schemas.microsoft.com/office/drawing/2014/main" val="3064076189"/>
                    </a:ext>
                  </a:extLst>
                </a:gridCol>
                <a:gridCol w="5984036">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1344637">
                <a:tc>
                  <a:txBody>
                    <a:bodyPr/>
                    <a:lstStyle/>
                    <a:p>
                      <a:r>
                        <a:rPr lang="en-US" sz="1100" b="1"/>
                        <a:t>Control Flow</a:t>
                      </a:r>
                    </a:p>
                  </a:txBody>
                  <a:tcPr marL="89642" marR="89642" marT="44821" marB="44821"/>
                </a:tc>
                <a:tc>
                  <a:txBody>
                    <a:bodyPr/>
                    <a:lstStyle/>
                    <a:p>
                      <a:pPr rtl="0" fontAlgn="base"/>
                      <a:r>
                        <a:rPr lang="en-US" sz="1000" b="0" i="0" kern="1200">
                          <a:solidFill>
                            <a:schemeClr val="dk1"/>
                          </a:solidFill>
                          <a:effectLst/>
                          <a:latin typeface="+mn-lt"/>
                          <a:ea typeface="+mn-ea"/>
                          <a:cs typeface="+mn-cs"/>
                        </a:rPr>
                        <a:t>Orchestration of pipeline activities that includes chaining activities in a sequence, branching, conditional branching based on an expression, parameters that can be defined at the pipeline level and arguments passed while invoking the pipeline on demand or from a trigger. Also includes custom state passing and looping containers, I.e. For-each, Do-Until iterators.</a:t>
                      </a:r>
                      <a:endParaRPr lang="en-US" sz="1000"/>
                    </a:p>
                  </a:txBody>
                  <a:tcPr marL="89642" marR="89642" marT="44821" marB="44821"/>
                </a:tc>
                <a:tc>
                  <a:txBody>
                    <a:bodyPr/>
                    <a:lstStyle/>
                    <a:p>
                      <a:r>
                        <a:rPr lang="en-US" sz="1000"/>
                        <a:t>{ "name":"</a:t>
                      </a:r>
                      <a:r>
                        <a:rPr lang="en-US" sz="1000" err="1"/>
                        <a:t>MyForEachActivityName</a:t>
                      </a:r>
                      <a:r>
                        <a:rPr lang="en-US" sz="1000"/>
                        <a:t>",</a:t>
                      </a:r>
                    </a:p>
                    <a:p>
                      <a:r>
                        <a:rPr lang="en-US" sz="1000"/>
                        <a:t>"type":"</a:t>
                      </a:r>
                      <a:r>
                        <a:rPr lang="en-US" sz="1000" err="1"/>
                        <a:t>ForEach</a:t>
                      </a:r>
                      <a:r>
                        <a:rPr lang="en-US" sz="1000"/>
                        <a:t>",</a:t>
                      </a:r>
                    </a:p>
                    <a:p>
                      <a:r>
                        <a:rPr lang="en-US" sz="1000"/>
                        <a:t>"</a:t>
                      </a:r>
                      <a:r>
                        <a:rPr lang="en-US" sz="1000" err="1"/>
                        <a:t>typeProperties</a:t>
                      </a:r>
                      <a:r>
                        <a:rPr lang="en-US" sz="1000"/>
                        <a:t>":{ "</a:t>
                      </a:r>
                      <a:r>
                        <a:rPr lang="en-US" sz="1000" err="1"/>
                        <a:t>isSequential</a:t>
                      </a:r>
                      <a:r>
                        <a:rPr lang="en-US" sz="1000"/>
                        <a:t>":"true", "items":"@pipeline().</a:t>
                      </a:r>
                      <a:r>
                        <a:rPr lang="en-US" sz="1000" err="1"/>
                        <a:t>parameters.mySinkDatasetFolderPathCollection</a:t>
                      </a:r>
                      <a:r>
                        <a:rPr lang="en-US" sz="1000"/>
                        <a:t>",</a:t>
                      </a:r>
                    </a:p>
                    <a:p>
                      <a:r>
                        <a:rPr lang="en-US" sz="1000"/>
                        <a:t>"activities":[</a:t>
                      </a:r>
                    </a:p>
                    <a:p>
                      <a:r>
                        <a:rPr lang="en-US" sz="1000"/>
                        <a:t>{</a:t>
                      </a:r>
                    </a:p>
                    <a:p>
                      <a:r>
                        <a:rPr lang="en-US" sz="1000"/>
                        <a:t>"name":"</a:t>
                      </a:r>
                      <a:r>
                        <a:rPr lang="en-US" sz="1000" err="1"/>
                        <a:t>MyCopyActivity</a:t>
                      </a:r>
                      <a:r>
                        <a:rPr lang="en-US" sz="1000"/>
                        <a:t>", "</a:t>
                      </a:r>
                      <a:r>
                        <a:rPr lang="en-US" sz="1000" err="1"/>
                        <a:t>type":"Copy</a:t>
                      </a:r>
                      <a:r>
                        <a:rPr lang="en-US" sz="1000"/>
                        <a:t>", "</a:t>
                      </a:r>
                      <a:r>
                        <a:rPr lang="en-US" sz="1000" err="1"/>
                        <a:t>typeProperties</a:t>
                      </a:r>
                      <a:r>
                        <a:rPr lang="en-US" sz="1000"/>
                        <a:t>": …</a:t>
                      </a:r>
                      <a:endParaRPr lang="en-US" sz="1200"/>
                    </a:p>
                  </a:txBody>
                  <a:tcPr marL="89642" marR="89642" marT="44821" marB="44821"/>
                </a:tc>
                <a:extLst>
                  <a:ext uri="{0D108BD9-81ED-4DB2-BD59-A6C34878D82A}">
                    <a16:rowId xmlns:a16="http://schemas.microsoft.com/office/drawing/2014/main" val="723897018"/>
                  </a:ext>
                </a:extLst>
              </a:tr>
              <a:tr h="911365">
                <a:tc>
                  <a:txBody>
                    <a:bodyPr/>
                    <a:lstStyle/>
                    <a:p>
                      <a:r>
                        <a:rPr lang="en-US" sz="1100" b="1"/>
                        <a:t>Runs</a:t>
                      </a:r>
                    </a:p>
                  </a:txBody>
                  <a:tcPr marL="89642" marR="89642" marT="44821" marB="44821"/>
                </a:tc>
                <a:tc>
                  <a:txBody>
                    <a:bodyPr/>
                    <a:lstStyle/>
                    <a:p>
                      <a:r>
                        <a:rPr lang="en-US" sz="1000" b="0" i="0" kern="1200">
                          <a:solidFill>
                            <a:schemeClr val="dk1"/>
                          </a:solidFill>
                          <a:effectLst/>
                          <a:latin typeface="+mn-lt"/>
                          <a:ea typeface="+mn-ea"/>
                          <a:cs typeface="+mn-cs"/>
                        </a:rPr>
                        <a:t>A Run is an instance of the pipeline execution. Pipeline Runs are typically instantiated by passing the arguments to the parameters defined in the Pipelines. The arguments can be passed manually or properties created by the Triggers.</a:t>
                      </a:r>
                      <a:endParaRPr lang="en-US" sz="1100"/>
                    </a:p>
                  </a:txBody>
                  <a:tcPr marL="89642" marR="89642" marT="44821" marB="44821"/>
                </a:tc>
                <a:tc>
                  <a:txBody>
                    <a:bodyPr/>
                    <a:lstStyle/>
                    <a:p>
                      <a:r>
                        <a:rPr lang="nn-NO" sz="1100"/>
                        <a:t>POST </a:t>
                      </a:r>
                      <a:r>
                        <a:rPr lang="nn-NO" sz="1100">
                          <a:hlinkClick r:id="rId3"/>
                        </a:rPr>
                        <a:t>https://management.azure.com/subscriptions/&lt;subId&gt;/resourceGroups/&lt;resourceGroupName&gt;/providers/Microsoft.DataFactory/factories/&lt;dataFactoryName&gt;/pipelines/&lt;pipelineName&gt;/createRun?api-version=2017-03-01-preview</a:t>
                      </a:r>
                      <a:endParaRPr lang="en-US" sz="1100"/>
                    </a:p>
                  </a:txBody>
                  <a:tcPr marL="89642" marR="89642" marT="44821" marB="44821"/>
                </a:tc>
                <a:extLst>
                  <a:ext uri="{0D108BD9-81ED-4DB2-BD59-A6C34878D82A}">
                    <a16:rowId xmlns:a16="http://schemas.microsoft.com/office/drawing/2014/main" val="2600773135"/>
                  </a:ext>
                </a:extLst>
              </a:tr>
              <a:tr h="363550">
                <a:tc>
                  <a:txBody>
                    <a:bodyPr/>
                    <a:lstStyle/>
                    <a:p>
                      <a:r>
                        <a:rPr lang="en-US" sz="1000" b="1"/>
                        <a:t>Activity Logs</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ry activity execution in a pipeline generates activity start and activity end logs event</a:t>
                      </a:r>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664312852"/>
                  </a:ext>
                </a:extLst>
              </a:tr>
              <a:tr h="53785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Integration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Replaces DMG as a way to move &amp; process data in Azure PaaS Services, self-hosted or on </a:t>
                      </a:r>
                      <a:r>
                        <a:rPr lang="en-US" sz="1000" err="1"/>
                        <a:t>prem</a:t>
                      </a:r>
                      <a:r>
                        <a:rPr lang="en-US" sz="1000"/>
                        <a:t> or Iaa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orks with VNET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nables SSIS package execution</a:t>
                      </a:r>
                    </a:p>
                  </a:txBody>
                  <a:tcPr marL="89642" marR="89642" marT="44821" marB="44821"/>
                </a:tc>
                <a:tc>
                  <a:txBody>
                    <a:bodyPr/>
                    <a:lstStyle/>
                    <a:p>
                      <a:r>
                        <a:rPr lang="en-US" sz="1000"/>
                        <a:t>Set-AzureRmDataFactoryV2IntegrationRuntime -Name $</a:t>
                      </a:r>
                      <a:r>
                        <a:rPr lang="en-US" sz="1000" err="1"/>
                        <a:t>integrationRuntimeName</a:t>
                      </a:r>
                      <a:r>
                        <a:rPr lang="en-US" sz="1000"/>
                        <a:t> -Type </a:t>
                      </a:r>
                      <a:r>
                        <a:rPr lang="en-US" sz="1000" err="1"/>
                        <a:t>SelfHosted</a:t>
                      </a:r>
                      <a:endParaRPr lang="en-US" sz="400"/>
                    </a:p>
                  </a:txBody>
                  <a:tcPr marL="89642" marR="89642" marT="44821" marB="44821"/>
                </a:tc>
                <a:extLst>
                  <a:ext uri="{0D108BD9-81ED-4DB2-BD59-A6C34878D82A}">
                    <a16:rowId xmlns:a16="http://schemas.microsoft.com/office/drawing/2014/main" val="1389221342"/>
                  </a:ext>
                </a:extLst>
              </a:tr>
              <a:tr h="212153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1"/>
                        <a:t>Schedul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Flexible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Wall-clock scheduling</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000"/>
                        <a:t>Event-based triggers</a:t>
                      </a:r>
                    </a:p>
                  </a:txBody>
                  <a:tcPr marL="89642" marR="89642" marT="44821" marB="44821"/>
                </a:tc>
                <a:tc>
                  <a:txBody>
                    <a:bodyPr/>
                    <a:lstStyle/>
                    <a:p>
                      <a:pPr rtl="0" fontAlgn="base"/>
                      <a:r>
                        <a:rPr lang="en-US" sz="800" b="0" i="0" kern="1200">
                          <a:solidFill>
                            <a:schemeClr val="dk1"/>
                          </a:solidFill>
                          <a:effectLst/>
                          <a:latin typeface="+mn-lt"/>
                          <a:ea typeface="+mn-ea"/>
                          <a:cs typeface="+mn-cs"/>
                        </a:rPr>
                        <a:t>"type": "</a:t>
                      </a:r>
                      <a:r>
                        <a:rPr lang="en-US" sz="800" b="0" i="0" kern="1200" err="1">
                          <a:solidFill>
                            <a:schemeClr val="dk1"/>
                          </a:solidFill>
                          <a:effectLst/>
                          <a:latin typeface="+mn-lt"/>
                          <a:ea typeface="+mn-ea"/>
                          <a:cs typeface="+mn-cs"/>
                        </a:rPr>
                        <a:t>ScheduleTrigger</a:t>
                      </a:r>
                      <a:r>
                        <a:rPr lang="en-US" sz="800" b="0" i="0" kern="1200">
                          <a:solidFill>
                            <a:schemeClr val="dk1"/>
                          </a:solidFill>
                          <a:effectLst/>
                          <a:latin typeface="+mn-lt"/>
                          <a:ea typeface="+mn-ea"/>
                          <a:cs typeface="+mn-cs"/>
                        </a:rPr>
                        <a: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ypeProperti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recurrence": { </a:t>
                      </a:r>
                    </a:p>
                    <a:p>
                      <a:pPr rtl="0" fontAlgn="base"/>
                      <a:r>
                        <a:rPr lang="en-US" sz="800" b="0" i="0" kern="1200">
                          <a:solidFill>
                            <a:schemeClr val="dk1"/>
                          </a:solidFill>
                          <a:effectLst/>
                          <a:latin typeface="+mn-lt"/>
                          <a:ea typeface="+mn-ea"/>
                          <a:cs typeface="+mn-cs"/>
                        </a:rPr>
                        <a:t>        "frequency": &lt;&lt;Minute, Hour, Day, Week, Year&gt;&gt;, </a:t>
                      </a:r>
                    </a:p>
                    <a:p>
                      <a:pPr rtl="0" fontAlgn="base"/>
                      <a:r>
                        <a:rPr lang="en-US" sz="800" b="0" i="0" kern="1200">
                          <a:solidFill>
                            <a:schemeClr val="dk1"/>
                          </a:solidFill>
                          <a:effectLst/>
                          <a:latin typeface="+mn-lt"/>
                          <a:ea typeface="+mn-ea"/>
                          <a:cs typeface="+mn-cs"/>
                        </a:rPr>
                        <a:t>        "interval": &lt;&lt;</a:t>
                      </a:r>
                      <a:r>
                        <a:rPr lang="en-US" sz="800" b="0" i="0" kern="1200" err="1">
                          <a:solidFill>
                            <a:schemeClr val="dk1"/>
                          </a:solidFill>
                          <a:effectLst/>
                          <a:latin typeface="+mn-lt"/>
                          <a:ea typeface="+mn-ea"/>
                          <a:cs typeface="+mn-cs"/>
                        </a:rPr>
                        <a:t>int</a:t>
                      </a:r>
                      <a:r>
                        <a:rPr lang="en-US" sz="800" b="0" i="0" kern="1200">
                          <a:solidFill>
                            <a:schemeClr val="dk1"/>
                          </a:solidFill>
                          <a:effectLst/>
                          <a:latin typeface="+mn-lt"/>
                          <a:ea typeface="+mn-ea"/>
                          <a:cs typeface="+mn-cs"/>
                        </a:rPr>
                        <a:t>&gt;&gt;,             // optional, how often to fire (default to 1)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start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endTime</a:t>
                      </a:r>
                      <a:r>
                        <a:rPr lang="en-US" sz="800" b="0" i="0" kern="1200">
                          <a:solidFill>
                            <a:schemeClr val="dk1"/>
                          </a:solidFill>
                          <a:effectLst/>
                          <a:latin typeface="+mn-lt"/>
                          <a:ea typeface="+mn-ea"/>
                          <a:cs typeface="+mn-cs"/>
                        </a:rPr>
                        <a:t>": &lt;&lt;datetime&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timeZone</a:t>
                      </a:r>
                      <a:r>
                        <a:rPr lang="en-US" sz="800" b="0" i="0" kern="1200">
                          <a:solidFill>
                            <a:schemeClr val="dk1"/>
                          </a:solidFill>
                          <a:effectLst/>
                          <a:latin typeface="+mn-lt"/>
                          <a:ea typeface="+mn-ea"/>
                          <a:cs typeface="+mn-cs"/>
                        </a:rPr>
                        <a:t>": &lt;&lt;default UTC&gt;&gt; </a:t>
                      </a:r>
                    </a:p>
                    <a:p>
                      <a:pPr rtl="0" fontAlgn="base"/>
                      <a:r>
                        <a:rPr lang="en-US" sz="800" b="0" i="0" kern="1200">
                          <a:solidFill>
                            <a:schemeClr val="dk1"/>
                          </a:solidFill>
                          <a:effectLst/>
                          <a:latin typeface="+mn-lt"/>
                          <a:ea typeface="+mn-ea"/>
                          <a:cs typeface="+mn-cs"/>
                        </a:rPr>
                        <a:t>        "schedule": {                    // optional (advanced scheduling specifics) </a:t>
                      </a:r>
                    </a:p>
                    <a:p>
                      <a:pPr rtl="0" fontAlgn="base"/>
                      <a:r>
                        <a:rPr lang="en-US" sz="800" b="0" i="0" kern="1200">
                          <a:solidFill>
                            <a:schemeClr val="dk1"/>
                          </a:solidFill>
                          <a:effectLst/>
                          <a:latin typeface="+mn-lt"/>
                          <a:ea typeface="+mn-ea"/>
                          <a:cs typeface="+mn-cs"/>
                        </a:rPr>
                        <a:t>          "hours": [&lt;&lt;0-24&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weekDays</a:t>
                      </a:r>
                      <a:r>
                        <a:rPr lang="en-US" sz="800" b="0" i="0" kern="1200">
                          <a:solidFill>
                            <a:schemeClr val="dk1"/>
                          </a:solidFill>
                          <a:effectLst/>
                          <a:latin typeface="+mn-lt"/>
                          <a:ea typeface="+mn-ea"/>
                          <a:cs typeface="+mn-cs"/>
                        </a:rPr>
                        <a:t>": ": [&lt;&lt;Monday-Sunday&gt;&gt;], </a:t>
                      </a:r>
                    </a:p>
                    <a:p>
                      <a:pPr rtl="0" fontAlgn="base"/>
                      <a:r>
                        <a:rPr lang="en-US" sz="800" b="0" i="0" kern="1200">
                          <a:solidFill>
                            <a:schemeClr val="dk1"/>
                          </a:solidFill>
                          <a:effectLst/>
                          <a:latin typeface="+mn-lt"/>
                          <a:ea typeface="+mn-ea"/>
                          <a:cs typeface="+mn-cs"/>
                        </a:rPr>
                        <a:t>          "minutes": [&lt;&lt;0-60&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Days</a:t>
                      </a:r>
                      <a:r>
                        <a:rPr lang="en-US" sz="800" b="0" i="0" kern="1200">
                          <a:solidFill>
                            <a:schemeClr val="dk1"/>
                          </a:solidFill>
                          <a:effectLst/>
                          <a:latin typeface="+mn-lt"/>
                          <a:ea typeface="+mn-ea"/>
                          <a:cs typeface="+mn-cs"/>
                        </a:rPr>
                        <a:t>": [&lt;&lt;1-31&gt;&gt;], </a:t>
                      </a:r>
                    </a:p>
                    <a:p>
                      <a:pPr rtl="0" fontAlgn="base"/>
                      <a:r>
                        <a:rPr lang="en-US" sz="800" b="0" i="0" kern="1200">
                          <a:solidFill>
                            <a:schemeClr val="dk1"/>
                          </a:solidFill>
                          <a:effectLst/>
                          <a:latin typeface="+mn-lt"/>
                          <a:ea typeface="+mn-ea"/>
                          <a:cs typeface="+mn-cs"/>
                        </a:rPr>
                        <a:t>          "</a:t>
                      </a:r>
                      <a:r>
                        <a:rPr lang="en-US" sz="800" b="0" i="0" kern="1200" err="1">
                          <a:solidFill>
                            <a:schemeClr val="dk1"/>
                          </a:solidFill>
                          <a:effectLst/>
                          <a:latin typeface="+mn-lt"/>
                          <a:ea typeface="+mn-ea"/>
                          <a:cs typeface="+mn-cs"/>
                        </a:rPr>
                        <a:t>monthlyOccurences</a:t>
                      </a:r>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 </a:t>
                      </a:r>
                    </a:p>
                    <a:p>
                      <a:pPr rtl="0" fontAlgn="base"/>
                      <a:r>
                        <a:rPr lang="en-US" sz="800" b="0" i="0" kern="1200">
                          <a:solidFill>
                            <a:schemeClr val="dk1"/>
                          </a:solidFill>
                          <a:effectLst/>
                          <a:latin typeface="+mn-lt"/>
                          <a:ea typeface="+mn-ea"/>
                          <a:cs typeface="+mn-cs"/>
                        </a:rPr>
                        <a:t>                    "day": &lt;&lt;Monday-Sunday&gt;&gt;, </a:t>
                      </a:r>
                    </a:p>
                    <a:p>
                      <a:pPr rtl="0" fontAlgn="base"/>
                      <a:r>
                        <a:rPr lang="en-US" sz="800" b="0" i="0" kern="1200">
                          <a:solidFill>
                            <a:schemeClr val="dk1"/>
                          </a:solidFill>
                          <a:effectLst/>
                          <a:latin typeface="+mn-lt"/>
                          <a:ea typeface="+mn-ea"/>
                          <a:cs typeface="+mn-cs"/>
                        </a:rPr>
                        <a:t>                    "occurrence": &lt;&lt;1-5&gt;&gt; </a:t>
                      </a:r>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3685534420"/>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16" y="215255"/>
            <a:ext cx="11523015" cy="676321"/>
          </a:xfrm>
        </p:spPr>
        <p:txBody>
          <a:bodyPr/>
          <a:lstStyle/>
          <a:p>
            <a:r>
              <a:rPr lang="en-US" sz="3529" b="1">
                <a:solidFill>
                  <a:srgbClr val="0078D7"/>
                </a:solidFill>
              </a:rPr>
              <a:t>New ADF V2 Concepts</a:t>
            </a:r>
          </a:p>
        </p:txBody>
      </p:sp>
      <p:graphicFrame>
        <p:nvGraphicFramePr>
          <p:cNvPr id="5" name="Table 4"/>
          <p:cNvGraphicFramePr>
            <a:graphicFrameLocks noGrp="1"/>
          </p:cNvGraphicFramePr>
          <p:nvPr>
            <p:extLst/>
          </p:nvPr>
        </p:nvGraphicFramePr>
        <p:xfrm>
          <a:off x="480228" y="994707"/>
          <a:ext cx="11499268" cy="5366310"/>
        </p:xfrm>
        <a:graphic>
          <a:graphicData uri="http://schemas.openxmlformats.org/drawingml/2006/table">
            <a:tbl>
              <a:tblPr firstRow="1" bandRow="1">
                <a:tableStyleId>{5C22544A-7EE6-4342-B048-85BDC9FD1C3A}</a:tableStyleId>
              </a:tblPr>
              <a:tblGrid>
                <a:gridCol w="2028190">
                  <a:extLst>
                    <a:ext uri="{9D8B030D-6E8A-4147-A177-3AD203B41FA5}">
                      <a16:colId xmlns:a16="http://schemas.microsoft.com/office/drawing/2014/main" val="3064076189"/>
                    </a:ext>
                  </a:extLst>
                </a:gridCol>
                <a:gridCol w="5594981">
                  <a:extLst>
                    <a:ext uri="{9D8B030D-6E8A-4147-A177-3AD203B41FA5}">
                      <a16:colId xmlns:a16="http://schemas.microsoft.com/office/drawing/2014/main" val="415379260"/>
                    </a:ext>
                  </a:extLst>
                </a:gridCol>
                <a:gridCol w="3876097">
                  <a:extLst>
                    <a:ext uri="{9D8B030D-6E8A-4147-A177-3AD203B41FA5}">
                      <a16:colId xmlns:a16="http://schemas.microsoft.com/office/drawing/2014/main" val="3222632186"/>
                    </a:ext>
                  </a:extLst>
                </a:gridCol>
              </a:tblGrid>
              <a:tr h="363550">
                <a:tc>
                  <a:txBody>
                    <a:bodyPr/>
                    <a:lstStyle/>
                    <a:p>
                      <a:r>
                        <a:rPr lang="en-US" sz="1400" b="1"/>
                        <a:t>Concept</a:t>
                      </a:r>
                    </a:p>
                  </a:txBody>
                  <a:tcPr marL="89642" marR="89642" marT="44821" marB="44821"/>
                </a:tc>
                <a:tc>
                  <a:txBody>
                    <a:bodyPr/>
                    <a:lstStyle/>
                    <a:p>
                      <a:r>
                        <a:rPr lang="en-US" sz="1400" b="1"/>
                        <a:t>Description</a:t>
                      </a:r>
                    </a:p>
                  </a:txBody>
                  <a:tcPr marL="89642" marR="89642" marT="44821" marB="44821"/>
                </a:tc>
                <a:tc>
                  <a:txBody>
                    <a:bodyPr/>
                    <a:lstStyle/>
                    <a:p>
                      <a:r>
                        <a:rPr lang="en-US" sz="1400" b="1"/>
                        <a:t>Sample</a:t>
                      </a:r>
                    </a:p>
                  </a:txBody>
                  <a:tcPr marL="89642" marR="89642" marT="44821" marB="44821"/>
                </a:tc>
                <a:extLst>
                  <a:ext uri="{0D108BD9-81ED-4DB2-BD59-A6C34878D82A}">
                    <a16:rowId xmlns:a16="http://schemas.microsoft.com/office/drawing/2014/main" val="3196793586"/>
                  </a:ext>
                </a:extLst>
              </a:tr>
              <a:tr h="582676">
                <a:tc>
                  <a:txBody>
                    <a:bodyPr/>
                    <a:lstStyle/>
                    <a:p>
                      <a:r>
                        <a:rPr lang="en-US" sz="1400" b="1"/>
                        <a:t>On-Demand Execution</a:t>
                      </a:r>
                    </a:p>
                  </a:txBody>
                  <a:tcPr marL="89642" marR="89642" marT="44821" marB="44821"/>
                </a:tc>
                <a:tc>
                  <a:txBody>
                    <a:bodyPr/>
                    <a:lstStyle/>
                    <a:p>
                      <a:pPr rtl="0" fontAlgn="base"/>
                      <a:r>
                        <a:rPr lang="en-US" sz="1100" b="0" i="0" kern="1200">
                          <a:solidFill>
                            <a:schemeClr val="dk1"/>
                          </a:solidFill>
                          <a:effectLst/>
                          <a:latin typeface="+mn-lt"/>
                          <a:ea typeface="+mn-ea"/>
                          <a:cs typeface="+mn-cs"/>
                        </a:rPr>
                        <a:t>Instantiate a pipeline by passing arguments as parameters defined in a pipeline and execute from script / REST / API.</a:t>
                      </a:r>
                    </a:p>
                  </a:txBody>
                  <a:tcPr marL="89642" marR="89642" marT="44821" marB="44821"/>
                </a:tc>
                <a:tc>
                  <a:txBody>
                    <a:bodyPr/>
                    <a:lstStyle/>
                    <a:p>
                      <a:r>
                        <a:rPr lang="en-US" sz="1100"/>
                        <a:t>Invoke-AzureRmDataFactoryV2PipelineRun -</a:t>
                      </a:r>
                      <a:r>
                        <a:rPr lang="en-US" sz="1100" err="1"/>
                        <a:t>DataFactory</a:t>
                      </a:r>
                      <a:r>
                        <a:rPr lang="en-US" sz="1100"/>
                        <a:t> $</a:t>
                      </a:r>
                      <a:r>
                        <a:rPr lang="en-US" sz="1100" err="1"/>
                        <a:t>df</a:t>
                      </a:r>
                      <a:r>
                        <a:rPr lang="en-US" sz="1100"/>
                        <a:t> -</a:t>
                      </a:r>
                      <a:r>
                        <a:rPr lang="en-US" sz="1100" err="1"/>
                        <a:t>PipelineName</a:t>
                      </a:r>
                      <a:r>
                        <a:rPr lang="en-US" sz="1100"/>
                        <a:t> "Adfv2QuickStartPipeline" -</a:t>
                      </a:r>
                      <a:r>
                        <a:rPr lang="en-US" sz="1100" err="1"/>
                        <a:t>ParameterFile</a:t>
                      </a:r>
                      <a:r>
                        <a:rPr lang="en-US" sz="1100"/>
                        <a:t> .\</a:t>
                      </a:r>
                      <a:r>
                        <a:rPr lang="en-US" sz="1100" err="1"/>
                        <a:t>PipelineParameters.json</a:t>
                      </a:r>
                      <a:endParaRPr lang="en-US" sz="1400"/>
                    </a:p>
                  </a:txBody>
                  <a:tcPr marL="89642" marR="89642" marT="44821" marB="44821"/>
                </a:tc>
                <a:extLst>
                  <a:ext uri="{0D108BD9-81ED-4DB2-BD59-A6C34878D82A}">
                    <a16:rowId xmlns:a16="http://schemas.microsoft.com/office/drawing/2014/main" val="723897018"/>
                  </a:ext>
                </a:extLst>
              </a:tr>
              <a:tr h="1240054">
                <a:tc>
                  <a:txBody>
                    <a:bodyPr/>
                    <a:lstStyle/>
                    <a:p>
                      <a:r>
                        <a:rPr lang="en-US" sz="1400" b="1"/>
                        <a:t>Parameters</a:t>
                      </a:r>
                    </a:p>
                  </a:txBody>
                  <a:tcPr marL="89642" marR="89642" marT="44821" marB="44821"/>
                </a:tc>
                <a:tc>
                  <a:txBody>
                    <a:bodyPr/>
                    <a:lstStyle/>
                    <a:p>
                      <a:pPr rtl="0" fontAlgn="base"/>
                      <a:r>
                        <a:rPr lang="en-US" sz="1100" b="0" i="0" kern="1200">
                          <a:solidFill>
                            <a:schemeClr val="dk1"/>
                          </a:solidFill>
                          <a:effectLst/>
                          <a:latin typeface="+mn-lt"/>
                          <a:ea typeface="+mn-ea"/>
                          <a:cs typeface="+mn-cs"/>
                        </a:rPr>
                        <a:t>Name-value pairs defined in the pipeline. Arguments for the defined parameters are passed during execution from the run context created by a Trigger or pipeline executed manually. Activities within the pipeline consume the parameter values.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Dataset </a:t>
                      </a:r>
                      <a:r>
                        <a:rPr lang="en-US" sz="1100" b="0" i="0" kern="1200">
                          <a:solidFill>
                            <a:schemeClr val="dk1"/>
                          </a:solidFill>
                          <a:effectLst/>
                          <a:latin typeface="+mn-lt"/>
                          <a:ea typeface="+mn-ea"/>
                          <a:cs typeface="+mn-cs"/>
                        </a:rPr>
                        <a:t>is a</a:t>
                      </a:r>
                      <a:r>
                        <a:rPr lang="en-US" sz="1100" b="1" i="0" kern="1200">
                          <a:solidFill>
                            <a:schemeClr val="dk1"/>
                          </a:solidFill>
                          <a:effectLst/>
                          <a:latin typeface="+mn-lt"/>
                          <a:ea typeface="+mn-ea"/>
                          <a:cs typeface="+mn-cs"/>
                        </a:rPr>
                        <a:t> </a:t>
                      </a:r>
                      <a:r>
                        <a:rPr lang="en-US" sz="1100" b="0" i="0" kern="1200">
                          <a:solidFill>
                            <a:schemeClr val="dk1"/>
                          </a:solidFill>
                          <a:effectLst/>
                          <a:latin typeface="+mn-lt"/>
                          <a:ea typeface="+mn-ea"/>
                          <a:cs typeface="+mn-cs"/>
                        </a:rPr>
                        <a:t>strongly typed parameter and a reusable/referenceable entity. An activity can reference datasets and can consume the properties defined in the Dataset definition </a:t>
                      </a:r>
                    </a:p>
                    <a:p>
                      <a:pPr rtl="0" fontAlgn="base"/>
                      <a:r>
                        <a:rPr lang="en-US" sz="1100" b="0" i="0" kern="1200">
                          <a:solidFill>
                            <a:schemeClr val="dk1"/>
                          </a:solidFill>
                          <a:effectLst/>
                          <a:latin typeface="+mn-lt"/>
                          <a:ea typeface="+mn-ea"/>
                          <a:cs typeface="+mn-cs"/>
                        </a:rPr>
                        <a:t>A </a:t>
                      </a:r>
                      <a:r>
                        <a:rPr lang="en-US" sz="1100" b="1" i="0" kern="1200">
                          <a:solidFill>
                            <a:schemeClr val="dk1"/>
                          </a:solidFill>
                          <a:effectLst/>
                          <a:latin typeface="+mn-lt"/>
                          <a:ea typeface="+mn-ea"/>
                          <a:cs typeface="+mn-cs"/>
                        </a:rPr>
                        <a:t>Linked Service</a:t>
                      </a:r>
                      <a:r>
                        <a:rPr lang="en-US" sz="1100" b="0" i="0" kern="1200">
                          <a:solidFill>
                            <a:schemeClr val="dk1"/>
                          </a:solidFill>
                          <a:effectLst/>
                          <a:latin typeface="+mn-lt"/>
                          <a:ea typeface="+mn-ea"/>
                          <a:cs typeface="+mn-cs"/>
                        </a:rPr>
                        <a:t> is also a strongly typed parameter containing the connection information to either a data store or a compute environment. It is also a reusable/referenceable entity. </a:t>
                      </a:r>
                    </a:p>
                  </a:txBody>
                  <a:tcPr marL="89642" marR="89642" marT="44821" marB="44821"/>
                </a:tc>
                <a:tc>
                  <a:txBody>
                    <a:bodyPr/>
                    <a:lstStyle/>
                    <a:p>
                      <a:r>
                        <a:rPr lang="en-US" sz="1100"/>
                        <a:t>Accessing parameters of other activities Using expressions</a:t>
                      </a:r>
                    </a:p>
                    <a:p>
                      <a:r>
                        <a:rPr lang="en-US" sz="1100"/>
                        <a:t>@parameters(“{name of parameter}”)</a:t>
                      </a:r>
                    </a:p>
                    <a:p>
                      <a:r>
                        <a:rPr lang="en-US" sz="1100"/>
                        <a:t>@activity(“{Name of Activity}”).</a:t>
                      </a:r>
                      <a:r>
                        <a:rPr lang="en-US" sz="1100" err="1"/>
                        <a:t>output.RowsCopied</a:t>
                      </a:r>
                      <a:endParaRPr lang="en-US" sz="1100"/>
                    </a:p>
                  </a:txBody>
                  <a:tcPr marL="89642" marR="89642" marT="44821" marB="44821"/>
                </a:tc>
                <a:extLst>
                  <a:ext uri="{0D108BD9-81ED-4DB2-BD59-A6C34878D82A}">
                    <a16:rowId xmlns:a16="http://schemas.microsoft.com/office/drawing/2014/main" val="2600773135"/>
                  </a:ext>
                </a:extLst>
              </a:tr>
              <a:tr h="1240054">
                <a:tc>
                  <a:txBody>
                    <a:bodyPr/>
                    <a:lstStyle/>
                    <a:p>
                      <a:r>
                        <a:rPr lang="en-US" sz="1200" b="1"/>
                        <a:t>Incremental Data Loading</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everage parameters and define your high-water mark for delta copy while moving dimension or reference tables from a relational store either on premises or in the cloud to load the data into the lake </a:t>
                      </a:r>
                    </a:p>
                  </a:txBody>
                  <a:tcPr marL="89642" marR="89642" marT="44821" marB="44821"/>
                </a:tc>
                <a:tc>
                  <a:txBody>
                    <a:bodyPr/>
                    <a:lstStyle/>
                    <a:p>
                      <a:r>
                        <a:rPr lang="en-US" sz="1100"/>
                        <a:t>name": "</a:t>
                      </a:r>
                      <a:r>
                        <a:rPr lang="en-US" sz="1100" err="1"/>
                        <a:t>LookupWaterMarkActivity</a:t>
                      </a:r>
                      <a:r>
                        <a:rPr lang="en-US" sz="1100"/>
                        <a:t>", </a:t>
                      </a:r>
                    </a:p>
                    <a:p>
                      <a:r>
                        <a:rPr lang="en-US" sz="1100"/>
                        <a:t>                "type": "Lookup", </a:t>
                      </a:r>
                    </a:p>
                    <a:p>
                      <a:r>
                        <a:rPr lang="en-US" sz="1100"/>
                        <a:t>                "</a:t>
                      </a:r>
                      <a:r>
                        <a:rPr lang="en-US" sz="1100" err="1"/>
                        <a:t>typeProperties</a:t>
                      </a:r>
                      <a:r>
                        <a:rPr lang="en-US" sz="1100"/>
                        <a:t>": { </a:t>
                      </a:r>
                    </a:p>
                    <a:p>
                      <a:r>
                        <a:rPr lang="en-US" sz="1100"/>
                        <a:t>                    "source": { </a:t>
                      </a:r>
                    </a:p>
                    <a:p>
                      <a:r>
                        <a:rPr lang="en-US" sz="1100"/>
                        <a:t>                    "type": "</a:t>
                      </a:r>
                      <a:r>
                        <a:rPr lang="en-US" sz="1100" err="1"/>
                        <a:t>SqlSource</a:t>
                      </a:r>
                      <a:r>
                        <a:rPr lang="en-US" sz="1100"/>
                        <a:t>", </a:t>
                      </a:r>
                    </a:p>
                    <a:p>
                      <a:r>
                        <a:rPr lang="en-US" sz="1100"/>
                        <a:t>                    "</a:t>
                      </a:r>
                      <a:r>
                        <a:rPr lang="en-US" sz="1100" err="1"/>
                        <a:t>sqlReaderQuery</a:t>
                      </a:r>
                      <a:r>
                        <a:rPr lang="en-US" sz="1100"/>
                        <a:t>": "select * from </a:t>
                      </a:r>
                      <a:r>
                        <a:rPr lang="en-US" sz="1100" err="1"/>
                        <a:t>watermarktable</a:t>
                      </a:r>
                      <a:r>
                        <a:rPr lang="en-US" sz="1100"/>
                        <a:t>" </a:t>
                      </a:r>
                    </a:p>
                    <a:p>
                      <a:r>
                        <a:rPr lang="en-US" sz="1100"/>
                        <a:t>                    }</a:t>
                      </a:r>
                    </a:p>
                  </a:txBody>
                  <a:tcPr marL="89642" marR="89642" marT="44821" marB="44821"/>
                </a:tc>
                <a:extLst>
                  <a:ext uri="{0D108BD9-81ED-4DB2-BD59-A6C34878D82A}">
                    <a16:rowId xmlns:a16="http://schemas.microsoft.com/office/drawing/2014/main" val="664312852"/>
                  </a:ext>
                </a:extLst>
              </a:tr>
              <a:tr h="911365">
                <a:tc>
                  <a:txBody>
                    <a:bodyPr/>
                    <a:lstStyle/>
                    <a:p>
                      <a:r>
                        <a:rPr lang="en-US" sz="1200" b="1"/>
                        <a:t>On-Demand Spark</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Support for on-demand HDI Spark clusters, similar to on-demand Hadoop activities in V1</a:t>
                      </a:r>
                    </a:p>
                  </a:txBody>
                  <a:tcPr marL="89642" marR="89642" marT="44821" marB="44821"/>
                </a:tc>
                <a:tc>
                  <a:txBody>
                    <a:bodyPr/>
                    <a:lstStyle/>
                    <a:p>
                      <a:r>
                        <a:rPr lang="en-US" sz="1100"/>
                        <a:t>"type": "</a:t>
                      </a:r>
                      <a:r>
                        <a:rPr lang="en-US" sz="1100" err="1"/>
                        <a:t>HDInsightOnDemand</a:t>
                      </a:r>
                      <a:r>
                        <a:rPr lang="en-US" sz="1100"/>
                        <a:t>", </a:t>
                      </a:r>
                    </a:p>
                    <a:p>
                      <a:r>
                        <a:rPr lang="en-US" sz="1100"/>
                        <a:t>      "</a:t>
                      </a:r>
                      <a:r>
                        <a:rPr lang="en-US" sz="1100" err="1"/>
                        <a:t>typeProperties</a:t>
                      </a:r>
                      <a:r>
                        <a:rPr lang="en-US" sz="1100"/>
                        <a:t>": { </a:t>
                      </a:r>
                    </a:p>
                    <a:p>
                      <a:r>
                        <a:rPr lang="en-US" sz="1100"/>
                        <a:t>        "</a:t>
                      </a:r>
                      <a:r>
                        <a:rPr lang="en-US" sz="1100" err="1"/>
                        <a:t>clusterSize</a:t>
                      </a:r>
                      <a:r>
                        <a:rPr lang="en-US" sz="1100"/>
                        <a:t>": 2, </a:t>
                      </a:r>
                    </a:p>
                    <a:p>
                      <a:r>
                        <a:rPr lang="en-US" sz="1100"/>
                        <a:t>        "</a:t>
                      </a:r>
                      <a:r>
                        <a:rPr lang="en-US" sz="1100" err="1"/>
                        <a:t>clusterType</a:t>
                      </a:r>
                      <a:r>
                        <a:rPr lang="en-US" sz="1100"/>
                        <a:t>": "spark", </a:t>
                      </a:r>
                    </a:p>
                    <a:p>
                      <a:r>
                        <a:rPr lang="en-US" sz="1100"/>
                        <a:t>        "</a:t>
                      </a:r>
                      <a:r>
                        <a:rPr lang="en-US" sz="1100" err="1"/>
                        <a:t>timeToLive</a:t>
                      </a:r>
                      <a:r>
                        <a:rPr lang="en-US" sz="1100"/>
                        <a:t>": "00:15:00", </a:t>
                      </a:r>
                    </a:p>
                  </a:txBody>
                  <a:tcPr marL="89642" marR="89642" marT="44821" marB="44821"/>
                </a:tc>
                <a:extLst>
                  <a:ext uri="{0D108BD9-81ED-4DB2-BD59-A6C34878D82A}">
                    <a16:rowId xmlns:a16="http://schemas.microsoft.com/office/drawing/2014/main" val="2391176755"/>
                  </a:ext>
                </a:extLst>
              </a:tr>
              <a:tr h="41833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SSIS Runtime</a:t>
                      </a: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Lift &amp; shift, deploy, manage, monitor SSIS packages in the cloud with SSIS Azure IR Service in Azure Data Factory</a:t>
                      </a:r>
                    </a:p>
                  </a:txBody>
                  <a:tcPr marL="89642" marR="89642" marT="44821" marB="44821"/>
                </a:tc>
                <a:tc>
                  <a:txBody>
                    <a:bodyPr/>
                    <a:lstStyle/>
                    <a:p>
                      <a:r>
                        <a:rPr lang="en-US" sz="1100"/>
                        <a:t>Start-AzureRmDataFactoryV2IntegrationRuntime -</a:t>
                      </a:r>
                      <a:r>
                        <a:rPr lang="en-US" sz="1100" err="1"/>
                        <a:t>DataFactoryName</a:t>
                      </a:r>
                      <a:r>
                        <a:rPr lang="en-US" sz="1100"/>
                        <a:t> $</a:t>
                      </a:r>
                      <a:r>
                        <a:rPr lang="en-US" sz="1100" err="1"/>
                        <a:t>DataFactoryName</a:t>
                      </a:r>
                      <a:r>
                        <a:rPr lang="en-US" sz="1100"/>
                        <a:t> -Name </a:t>
                      </a:r>
                    </a:p>
                  </a:txBody>
                  <a:tcPr marL="89642" marR="89642" marT="44821" marB="44821"/>
                </a:tc>
                <a:extLst>
                  <a:ext uri="{0D108BD9-81ED-4DB2-BD59-A6C34878D82A}">
                    <a16:rowId xmlns:a16="http://schemas.microsoft.com/office/drawing/2014/main" val="1389221342"/>
                  </a:ext>
                </a:extLst>
              </a:tr>
              <a:tr h="36355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b="1"/>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100"/>
                    </a:p>
                  </a:txBody>
                  <a:tcPr marL="89642" marR="89642" marT="44821" marB="44821"/>
                </a:tc>
                <a:tc>
                  <a:txBody>
                    <a:bodyPr/>
                    <a:lstStyle/>
                    <a:p>
                      <a:endParaRPr lang="en-US" sz="1100"/>
                    </a:p>
                  </a:txBody>
                  <a:tcPr marL="89642" marR="89642" marT="44821" marB="44821"/>
                </a:tc>
                <a:extLst>
                  <a:ext uri="{0D108BD9-81ED-4DB2-BD59-A6C34878D82A}">
                    <a16:rowId xmlns:a16="http://schemas.microsoft.com/office/drawing/2014/main" val="57243917"/>
                  </a:ext>
                </a:extLst>
              </a:tr>
            </a:tbl>
          </a:graphicData>
        </a:graphic>
      </p:graphicFrame>
    </p:spTree>
    <p:extLst>
      <p:ext uri="{BB962C8B-B14F-4D97-AF65-F5344CB8AC3E}">
        <p14:creationId xmlns:p14="http://schemas.microsoft.com/office/powerpoint/2010/main" val="752570186"/>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995697"/>
          </a:xfrm>
        </p:spPr>
        <p:txBody>
          <a:bodyPr/>
          <a:lstStyle/>
          <a:p>
            <a:r>
              <a:rPr lang="en-US" sz="5882"/>
              <a:t>Patterns &amp; Scenarios for ADF V2</a:t>
            </a:r>
          </a:p>
        </p:txBody>
      </p:sp>
    </p:spTree>
    <p:extLst>
      <p:ext uri="{BB962C8B-B14F-4D97-AF65-F5344CB8AC3E}">
        <p14:creationId xmlns:p14="http://schemas.microsoft.com/office/powerpoint/2010/main" val="418167152"/>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1:</a:t>
            </a:r>
            <a:br>
              <a:rPr lang="en-US" sz="3600" b="1"/>
            </a:br>
            <a:r>
              <a:rPr lang="en-US" sz="2800"/>
              <a:t>Analyze blog comments</a:t>
            </a:r>
            <a:endParaRPr lang="en-US" sz="3600"/>
          </a:p>
        </p:txBody>
      </p:sp>
      <p:pic>
        <p:nvPicPr>
          <p:cNvPr id="4" name="Picture 1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35533" y="1565063"/>
            <a:ext cx="561895" cy="55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544862" y="3496387"/>
            <a:ext cx="604751" cy="52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316221" y="3448907"/>
            <a:ext cx="553958" cy="584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26"/>
          <p:cNvSpPr txBox="1">
            <a:spLocks noChangeArrowheads="1"/>
          </p:cNvSpPr>
          <p:nvPr/>
        </p:nvSpPr>
        <p:spPr bwMode="auto">
          <a:xfrm>
            <a:off x="5605286" y="3094941"/>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SQL Database</a:t>
            </a:r>
          </a:p>
        </p:txBody>
      </p:sp>
      <p:pic>
        <p:nvPicPr>
          <p:cNvPr id="8" name="Picture 1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332740" y="5041895"/>
            <a:ext cx="407929" cy="53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5738688" y="5033630"/>
            <a:ext cx="2034886" cy="531737"/>
          </a:xfrm>
          <a:prstGeom prst="rect">
            <a:avLst/>
          </a:prstGeom>
          <a:noFill/>
        </p:spPr>
        <p:txBody>
          <a:bodyPr>
            <a:spAutoFit/>
          </a:bodyPr>
          <a:lstStyle/>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SQL Server</a:t>
            </a:r>
          </a:p>
          <a:p>
            <a:pPr defTabSz="914367">
              <a:defRPr/>
            </a:pPr>
            <a:r>
              <a:rPr lang="en-US" sz="1400" b="1">
                <a:solidFill>
                  <a:srgbClr val="FFFFFF">
                    <a:lumMod val="50000"/>
                  </a:srgbClr>
                </a:solidFill>
                <a:latin typeface="Segoe UI" panose="020B0502040204020203" pitchFamily="34" charset="0"/>
                <a:cs typeface="Segoe UI" panose="020B0502040204020203" pitchFamily="34" charset="0"/>
              </a:rPr>
              <a:t>(on-premises)</a:t>
            </a:r>
          </a:p>
        </p:txBody>
      </p:sp>
      <p:pic>
        <p:nvPicPr>
          <p:cNvPr id="10" name="Picture 9"/>
          <p:cNvPicPr>
            <a:picLocks noChangeAspect="1"/>
          </p:cNvPicPr>
          <p:nvPr/>
        </p:nvPicPr>
        <p:blipFill>
          <a:blip r:embed="rId7"/>
          <a:stretch>
            <a:fillRect/>
          </a:stretch>
        </p:blipFill>
        <p:spPr>
          <a:xfrm>
            <a:off x="2851889" y="3406970"/>
            <a:ext cx="808951" cy="738034"/>
          </a:xfrm>
          <a:prstGeom prst="rect">
            <a:avLst/>
          </a:prstGeom>
        </p:spPr>
      </p:pic>
      <p:pic>
        <p:nvPicPr>
          <p:cNvPr id="11" name="Picture 11"/>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5631251" y="4403478"/>
            <a:ext cx="415857" cy="50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6"/>
          <p:cNvSpPr txBox="1">
            <a:spLocks noChangeArrowheads="1"/>
          </p:cNvSpPr>
          <p:nvPr/>
        </p:nvSpPr>
        <p:spPr bwMode="auto">
          <a:xfrm>
            <a:off x="6052369" y="4441900"/>
            <a:ext cx="1822992" cy="437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Data Management </a:t>
            </a:r>
          </a:p>
          <a:p>
            <a:pPr defTabSz="914367">
              <a:lnSpc>
                <a:spcPct val="100000"/>
              </a:lnSpc>
              <a:spcBef>
                <a:spcPct val="0"/>
              </a:spcBef>
              <a:buNone/>
            </a:pPr>
            <a:r>
              <a:rPr lang="en-US" altLang="en-US" sz="1100" b="1">
                <a:solidFill>
                  <a:srgbClr val="00ABEC"/>
                </a:solidFill>
                <a:latin typeface="Segoe UI" panose="020B0502040204020203" pitchFamily="34" charset="0"/>
                <a:cs typeface="Segoe UI" panose="020B0502040204020203" pitchFamily="34" charset="0"/>
              </a:rPr>
              <a:t>Gateway </a:t>
            </a:r>
            <a:r>
              <a:rPr lang="en-US" altLang="en-US" sz="1100" b="1" err="1">
                <a:solidFill>
                  <a:srgbClr val="00ABEC"/>
                </a:solidFill>
                <a:latin typeface="Segoe UI" panose="020B0502040204020203" pitchFamily="34" charset="0"/>
                <a:cs typeface="Segoe UI" panose="020B0502040204020203" pitchFamily="34" charset="0"/>
              </a:rPr>
              <a:t>Req’d</a:t>
            </a:r>
            <a:r>
              <a:rPr lang="en-US" altLang="en-US" sz="1100" b="1">
                <a:solidFill>
                  <a:srgbClr val="00ABEC"/>
                </a:solidFill>
                <a:latin typeface="Segoe UI" panose="020B0502040204020203" pitchFamily="34" charset="0"/>
                <a:cs typeface="Segoe UI" panose="020B0502040204020203" pitchFamily="34" charset="0"/>
              </a:rPr>
              <a:t> for ADF</a:t>
            </a:r>
          </a:p>
        </p:txBody>
      </p:sp>
      <p:cxnSp>
        <p:nvCxnSpPr>
          <p:cNvPr id="13" name="Straight Arrow Connector 12"/>
          <p:cNvCxnSpPr>
            <a:stCxn id="4" idx="2"/>
            <a:endCxn id="5" idx="0"/>
          </p:cNvCxnSpPr>
          <p:nvPr/>
        </p:nvCxnSpPr>
        <p:spPr bwMode="auto">
          <a:xfrm>
            <a:off x="816480" y="2122197"/>
            <a:ext cx="30757" cy="1374190"/>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4" name="TextBox 26"/>
          <p:cNvSpPr txBox="1">
            <a:spLocks noChangeArrowheads="1"/>
          </p:cNvSpPr>
          <p:nvPr/>
        </p:nvSpPr>
        <p:spPr bwMode="auto">
          <a:xfrm>
            <a:off x="2007713" y="3009245"/>
            <a:ext cx="2542117"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cxnSp>
        <p:nvCxnSpPr>
          <p:cNvPr id="15" name="Straight Arrow Connector 14"/>
          <p:cNvCxnSpPr>
            <a:stCxn id="5" idx="3"/>
          </p:cNvCxnSpPr>
          <p:nvPr/>
        </p:nvCxnSpPr>
        <p:spPr bwMode="auto">
          <a:xfrm flipV="1">
            <a:off x="1149614" y="3756337"/>
            <a:ext cx="1640912" cy="4332"/>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6" name="Straight Arrow Connector 15"/>
          <p:cNvCxnSpPr>
            <a:endCxn id="6" idx="1"/>
          </p:cNvCxnSpPr>
          <p:nvPr/>
        </p:nvCxnSpPr>
        <p:spPr bwMode="auto">
          <a:xfrm>
            <a:off x="3719775" y="3728118"/>
            <a:ext cx="2596447" cy="12849"/>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18" name="TextBox 17"/>
          <p:cNvSpPr txBox="1"/>
          <p:nvPr/>
        </p:nvSpPr>
        <p:spPr>
          <a:xfrm>
            <a:off x="844796" y="2293505"/>
            <a:ext cx="2311074" cy="280678"/>
          </a:xfrm>
          <a:prstGeom prst="rect">
            <a:avLst/>
          </a:prstGeom>
          <a:noFill/>
        </p:spPr>
        <p:txBody>
          <a:bodyPr wrap="none" rtlCol="0">
            <a:spAutoFit/>
          </a:bodyPr>
          <a:lstStyle/>
          <a:p>
            <a:pPr defTabSz="914367"/>
            <a:r>
              <a:rPr lang="en-US" sz="1200">
                <a:solidFill>
                  <a:srgbClr val="353535"/>
                </a:solidFill>
                <a:latin typeface="Segoe UI Semilight"/>
              </a:rPr>
              <a:t>Capture blog comments via API</a:t>
            </a:r>
          </a:p>
        </p:txBody>
      </p:sp>
      <p:sp>
        <p:nvSpPr>
          <p:cNvPr id="19" name="TextBox 18"/>
          <p:cNvSpPr txBox="1"/>
          <p:nvPr/>
        </p:nvSpPr>
        <p:spPr>
          <a:xfrm>
            <a:off x="1208772" y="3341903"/>
            <a:ext cx="1083705" cy="469037"/>
          </a:xfrm>
          <a:prstGeom prst="rect">
            <a:avLst/>
          </a:prstGeom>
          <a:noFill/>
        </p:spPr>
        <p:txBody>
          <a:bodyPr wrap="square" rtlCol="0">
            <a:spAutoFit/>
          </a:bodyPr>
          <a:lstStyle/>
          <a:p>
            <a:pPr algn="ctr" defTabSz="914367"/>
            <a:r>
              <a:rPr lang="en-US" sz="1200">
                <a:solidFill>
                  <a:srgbClr val="353535"/>
                </a:solidFill>
                <a:latin typeface="Segoe UI Semilight"/>
              </a:rPr>
              <a:t>Drop into Blob Store</a:t>
            </a:r>
          </a:p>
        </p:txBody>
      </p:sp>
      <p:cxnSp>
        <p:nvCxnSpPr>
          <p:cNvPr id="20" name="Straight Arrow Connector 19"/>
          <p:cNvCxnSpPr/>
          <p:nvPr/>
        </p:nvCxnSpPr>
        <p:spPr bwMode="auto">
          <a:xfrm>
            <a:off x="4089645" y="4145004"/>
            <a:ext cx="1170288" cy="966558"/>
          </a:xfrm>
          <a:prstGeom prst="straightConnector1">
            <a:avLst/>
          </a:prstGeom>
          <a:ln>
            <a:headEnd type="triangle"/>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4454509" y="4232715"/>
            <a:ext cx="1197594" cy="280678"/>
          </a:xfrm>
          <a:prstGeom prst="rect">
            <a:avLst/>
          </a:prstGeom>
          <a:noFill/>
        </p:spPr>
        <p:txBody>
          <a:bodyPr wrap="none" rtlCol="0">
            <a:spAutoFit/>
          </a:bodyPr>
          <a:lstStyle/>
          <a:p>
            <a:pPr defTabSz="914367"/>
            <a:r>
              <a:rPr lang="en-US" sz="1200">
                <a:solidFill>
                  <a:srgbClr val="353535"/>
                </a:solidFill>
                <a:latin typeface="Segoe UI Semilight"/>
              </a:rPr>
              <a:t>Copy &amp; lookup</a:t>
            </a:r>
          </a:p>
        </p:txBody>
      </p:sp>
      <p:pic>
        <p:nvPicPr>
          <p:cNvPr id="22" name="Picture 2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93798" y="3492553"/>
            <a:ext cx="507135" cy="522818"/>
          </a:xfrm>
          <a:prstGeom prst="rect">
            <a:avLst/>
          </a:prstGeom>
        </p:spPr>
      </p:pic>
      <p:sp>
        <p:nvSpPr>
          <p:cNvPr id="23" name="TextBox 26"/>
          <p:cNvSpPr txBox="1">
            <a:spLocks noChangeArrowheads="1"/>
          </p:cNvSpPr>
          <p:nvPr/>
        </p:nvSpPr>
        <p:spPr bwMode="auto">
          <a:xfrm>
            <a:off x="8881025" y="3121432"/>
            <a:ext cx="2034886"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Power BI Dashboard</a:t>
            </a:r>
          </a:p>
        </p:txBody>
      </p:sp>
      <p:cxnSp>
        <p:nvCxnSpPr>
          <p:cNvPr id="24" name="Straight Arrow Connector 23"/>
          <p:cNvCxnSpPr>
            <a:stCxn id="6" idx="3"/>
            <a:endCxn id="22" idx="1"/>
          </p:cNvCxnSpPr>
          <p:nvPr/>
        </p:nvCxnSpPr>
        <p:spPr bwMode="auto">
          <a:xfrm>
            <a:off x="6870180" y="3740966"/>
            <a:ext cx="2623618" cy="12996"/>
          </a:xfrm>
          <a:prstGeom prst="straightConnector1">
            <a:avLst/>
          </a:prstGeom>
          <a:ln>
            <a:tailEnd type="triangle"/>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7404330" y="3753749"/>
            <a:ext cx="1580882" cy="276999"/>
          </a:xfrm>
          <a:prstGeom prst="rect">
            <a:avLst/>
          </a:prstGeom>
          <a:noFill/>
        </p:spPr>
        <p:txBody>
          <a:bodyPr wrap="none" rtlCol="0">
            <a:spAutoFit/>
          </a:bodyPr>
          <a:lstStyle/>
          <a:p>
            <a:pPr algn="ctr" defTabSz="914367"/>
            <a:r>
              <a:rPr lang="en-US" sz="1200">
                <a:solidFill>
                  <a:srgbClr val="353535"/>
                </a:solidFill>
                <a:latin typeface="Segoe UI Semilight"/>
              </a:rPr>
              <a:t>Visualize and analyze</a:t>
            </a:r>
          </a:p>
        </p:txBody>
      </p:sp>
      <p:sp>
        <p:nvSpPr>
          <p:cNvPr id="17" name="TextBox 16"/>
          <p:cNvSpPr txBox="1"/>
          <p:nvPr/>
        </p:nvSpPr>
        <p:spPr>
          <a:xfrm>
            <a:off x="3719774" y="3426164"/>
            <a:ext cx="2217575"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SPROC (ELT)</a:t>
            </a:r>
          </a:p>
        </p:txBody>
      </p:sp>
      <p:sp>
        <p:nvSpPr>
          <p:cNvPr id="37" name="TextBox 36"/>
          <p:cNvSpPr txBox="1"/>
          <p:nvPr/>
        </p:nvSpPr>
        <p:spPr>
          <a:xfrm>
            <a:off x="3743605" y="3787272"/>
            <a:ext cx="2251819" cy="280678"/>
          </a:xfrm>
          <a:prstGeom prst="rect">
            <a:avLst/>
          </a:prstGeom>
          <a:noFill/>
        </p:spPr>
        <p:txBody>
          <a:bodyPr wrap="square" rtlCol="0">
            <a:spAutoFit/>
          </a:bodyPr>
          <a:lstStyle/>
          <a:p>
            <a:pPr algn="ctr" defTabSz="914367"/>
            <a:r>
              <a:rPr lang="en-US" sz="1200">
                <a:solidFill>
                  <a:srgbClr val="353535"/>
                </a:solidFill>
                <a:latin typeface="Segoe UI Semilight"/>
              </a:rPr>
              <a:t>Transform via Dataflow (ETL)</a:t>
            </a:r>
          </a:p>
        </p:txBody>
      </p:sp>
      <p:pic>
        <p:nvPicPr>
          <p:cNvPr id="2050" name="Picture 2" descr="Image result for ssis logo"/>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84622" y="2990352"/>
            <a:ext cx="1234140" cy="423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2657997"/>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2:</a:t>
            </a:r>
            <a:br>
              <a:rPr lang="en-US" sz="3600" b="1"/>
            </a:br>
            <a:r>
              <a:rPr lang="en-US" sz="2800"/>
              <a:t>Data-Driven SaaS App: </a:t>
            </a:r>
            <a:r>
              <a:rPr lang="en-US" sz="2353"/>
              <a:t>Sentiment Analysis w/Machine Learning</a:t>
            </a:r>
            <a:endParaRPr lang="en-US" sz="3600"/>
          </a:p>
        </p:txBody>
      </p:sp>
      <p:pic>
        <p:nvPicPr>
          <p:cNvPr id="3074" name="Picture 2" descr="Image result for azure sql data ware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51735" y="1453306"/>
            <a:ext cx="2433295" cy="130822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1965797" y="1537198"/>
            <a:ext cx="1847588" cy="1495213"/>
          </a:xfrm>
          <a:prstGeom prst="rect">
            <a:avLst/>
          </a:prstGeom>
        </p:spPr>
      </p:pic>
      <p:pic>
        <p:nvPicPr>
          <p:cNvPr id="8" name="Picture 7"/>
          <p:cNvPicPr>
            <a:picLocks noChangeAspect="1"/>
          </p:cNvPicPr>
          <p:nvPr/>
        </p:nvPicPr>
        <p:blipFill>
          <a:blip r:embed="rId5"/>
          <a:stretch>
            <a:fillRect/>
          </a:stretch>
        </p:blipFill>
        <p:spPr>
          <a:xfrm>
            <a:off x="4061810" y="3370551"/>
            <a:ext cx="1061100" cy="1061100"/>
          </a:xfrm>
          <a:prstGeom prst="rect">
            <a:avLst/>
          </a:prstGeom>
        </p:spPr>
      </p:pic>
      <p:cxnSp>
        <p:nvCxnSpPr>
          <p:cNvPr id="7" name="Straight Arrow Connector 6"/>
          <p:cNvCxnSpPr>
            <a:cxnSpLocks/>
            <a:stCxn id="3074" idx="2"/>
          </p:cNvCxnSpPr>
          <p:nvPr/>
        </p:nvCxnSpPr>
        <p:spPr>
          <a:xfrm>
            <a:off x="8168383" y="2761530"/>
            <a:ext cx="1647388" cy="667471"/>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5238486" y="2576054"/>
            <a:ext cx="2254936" cy="12900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5" name="Picture 5"/>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4100488" y="1849269"/>
            <a:ext cx="959173" cy="838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26"/>
          <p:cNvSpPr txBox="1">
            <a:spLocks noChangeArrowheads="1"/>
          </p:cNvSpPr>
          <p:nvPr/>
        </p:nvSpPr>
        <p:spPr bwMode="auto">
          <a:xfrm>
            <a:off x="3727091" y="4397906"/>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Data Factory</a:t>
            </a:r>
          </a:p>
        </p:txBody>
      </p:sp>
      <p:sp>
        <p:nvSpPr>
          <p:cNvPr id="19" name="TextBox 26"/>
          <p:cNvSpPr txBox="1">
            <a:spLocks noChangeArrowheads="1"/>
          </p:cNvSpPr>
          <p:nvPr/>
        </p:nvSpPr>
        <p:spPr bwMode="auto">
          <a:xfrm>
            <a:off x="9577242" y="4044873"/>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dirty="0">
                <a:solidFill>
                  <a:srgbClr val="00ABEC"/>
                </a:solidFill>
                <a:latin typeface="Segoe UI" panose="020B0502040204020203" pitchFamily="34" charset="0"/>
                <a:cs typeface="Segoe UI" panose="020B0502040204020203" pitchFamily="34" charset="0"/>
              </a:rPr>
              <a:t>Power BI</a:t>
            </a:r>
          </a:p>
        </p:txBody>
      </p:sp>
      <p:sp>
        <p:nvSpPr>
          <p:cNvPr id="22" name="TextBox 26"/>
          <p:cNvSpPr txBox="1">
            <a:spLocks noChangeArrowheads="1"/>
          </p:cNvSpPr>
          <p:nvPr/>
        </p:nvSpPr>
        <p:spPr bwMode="auto">
          <a:xfrm>
            <a:off x="3613205" y="153956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Blob Storage</a:t>
            </a:r>
          </a:p>
        </p:txBody>
      </p:sp>
      <p:sp>
        <p:nvSpPr>
          <p:cNvPr id="23" name="TextBox 26"/>
          <p:cNvSpPr txBox="1">
            <a:spLocks noChangeArrowheads="1"/>
          </p:cNvSpPr>
          <p:nvPr/>
        </p:nvSpPr>
        <p:spPr bwMode="auto">
          <a:xfrm>
            <a:off x="2015786" y="2985442"/>
            <a:ext cx="1811013" cy="312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400" b="1">
                <a:solidFill>
                  <a:srgbClr val="00ABEC"/>
                </a:solidFill>
                <a:latin typeface="Segoe UI" panose="020B0502040204020203" pitchFamily="34" charset="0"/>
                <a:cs typeface="Segoe UI" panose="020B0502040204020203" pitchFamily="34" charset="0"/>
              </a:rPr>
              <a:t>Azure Functions</a:t>
            </a:r>
          </a:p>
        </p:txBody>
      </p:sp>
      <p:cxnSp>
        <p:nvCxnSpPr>
          <p:cNvPr id="24" name="Straight Arrow Connector 23"/>
          <p:cNvCxnSpPr>
            <a:cxnSpLocks/>
          </p:cNvCxnSpPr>
          <p:nvPr/>
        </p:nvCxnSpPr>
        <p:spPr>
          <a:xfrm flipV="1">
            <a:off x="1371996" y="2284804"/>
            <a:ext cx="886670" cy="11206"/>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15" idx="1"/>
          </p:cNvCxnSpPr>
          <p:nvPr/>
        </p:nvCxnSpPr>
        <p:spPr>
          <a:xfrm flipV="1">
            <a:off x="3648745" y="2268436"/>
            <a:ext cx="451742" cy="16808"/>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8" idx="0"/>
          </p:cNvCxnSpPr>
          <p:nvPr/>
        </p:nvCxnSpPr>
        <p:spPr>
          <a:xfrm>
            <a:off x="4571184" y="2689378"/>
            <a:ext cx="21175" cy="681174"/>
          </a:xfrm>
          <a:prstGeom prst="straightConnector1">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 name="Picture 2" descr="enter image description her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45319" y="1863828"/>
            <a:ext cx="747243" cy="74724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889483" y="2534540"/>
            <a:ext cx="1631511" cy="61552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176">
                <a:gradFill>
                  <a:gsLst>
                    <a:gs pos="2917">
                      <a:srgbClr val="353535"/>
                    </a:gs>
                    <a:gs pos="30000">
                      <a:srgbClr val="353535"/>
                    </a:gs>
                  </a:gsLst>
                  <a:lin ang="5400000" scaled="0"/>
                </a:gradFill>
                <a:latin typeface="Segoe UI Semilight"/>
              </a:rPr>
              <a:t>Loop through all files in folder</a:t>
            </a:r>
          </a:p>
        </p:txBody>
      </p:sp>
      <p:pic>
        <p:nvPicPr>
          <p:cNvPr id="5" name="Picture 4">
            <a:extLst>
              <a:ext uri="{FF2B5EF4-FFF2-40B4-BE49-F238E27FC236}">
                <a16:creationId xmlns:a16="http://schemas.microsoft.com/office/drawing/2014/main" id="{1F00814D-88AD-42D0-8DBA-B3961E902EB4}"/>
              </a:ext>
            </a:extLst>
          </p:cNvPr>
          <p:cNvPicPr>
            <a:picLocks noChangeAspect="1"/>
          </p:cNvPicPr>
          <p:nvPr/>
        </p:nvPicPr>
        <p:blipFill>
          <a:blip r:embed="rId8"/>
          <a:stretch>
            <a:fillRect/>
          </a:stretch>
        </p:blipFill>
        <p:spPr>
          <a:xfrm>
            <a:off x="139992" y="1991581"/>
            <a:ext cx="1221577" cy="696021"/>
          </a:xfrm>
          <a:prstGeom prst="rect">
            <a:avLst/>
          </a:prstGeom>
        </p:spPr>
      </p:pic>
      <p:pic>
        <p:nvPicPr>
          <p:cNvPr id="25" name="Picture 24">
            <a:extLst>
              <a:ext uri="{FF2B5EF4-FFF2-40B4-BE49-F238E27FC236}">
                <a16:creationId xmlns:a16="http://schemas.microsoft.com/office/drawing/2014/main" id="{014D32D6-A1FD-42D8-9DDB-382490E2513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75614" y="3429000"/>
            <a:ext cx="507135" cy="522818"/>
          </a:xfrm>
          <a:prstGeom prst="rect">
            <a:avLst/>
          </a:prstGeom>
        </p:spPr>
      </p:pic>
    </p:spTree>
    <p:extLst>
      <p:ext uri="{BB962C8B-B14F-4D97-AF65-F5344CB8AC3E}">
        <p14:creationId xmlns:p14="http://schemas.microsoft.com/office/powerpoint/2010/main" val="89028318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bwMode="auto">
          <a:xfrm>
            <a:off x="7127838" y="2338456"/>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127" name="Rectangle 126"/>
          <p:cNvSpPr/>
          <p:nvPr/>
        </p:nvSpPr>
        <p:spPr bwMode="auto">
          <a:xfrm>
            <a:off x="5332976" y="2330662"/>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a:t>
            </a:r>
          </a:p>
        </p:txBody>
      </p:sp>
      <p:sp>
        <p:nvSpPr>
          <p:cNvPr id="3" name="Title 2"/>
          <p:cNvSpPr>
            <a:spLocks noGrp="1"/>
          </p:cNvSpPr>
          <p:nvPr>
            <p:ph type="title"/>
          </p:nvPr>
        </p:nvSpPr>
        <p:spPr/>
        <p:txBody>
          <a:bodyPr/>
          <a:lstStyle/>
          <a:p>
            <a:r>
              <a:rPr lang="en-US" dirty="0"/>
              <a:t>Comprehensive Microsoft BI offerings</a:t>
            </a:r>
            <a:br>
              <a:rPr lang="en-US" dirty="0"/>
            </a:br>
            <a:r>
              <a:rPr lang="en-US" sz="3528" dirty="0">
                <a:gradFill>
                  <a:gsLst>
                    <a:gs pos="1250">
                      <a:schemeClr val="tx2"/>
                    </a:gs>
                    <a:gs pos="100000">
                      <a:schemeClr val="tx2"/>
                    </a:gs>
                  </a:gsLst>
                  <a:lin ang="5400000" scaled="0"/>
                </a:gradFill>
              </a:rPr>
              <a:t>Hybrid architecture</a:t>
            </a:r>
            <a:endParaRPr lang="en-US" sz="3136" dirty="0">
              <a:gradFill>
                <a:gsLst>
                  <a:gs pos="1250">
                    <a:schemeClr val="tx2"/>
                  </a:gs>
                  <a:gs pos="100000">
                    <a:schemeClr val="tx2"/>
                  </a:gs>
                </a:gsLst>
                <a:lin ang="5400000" scaled="0"/>
              </a:gradFill>
            </a:endParaRPr>
          </a:p>
        </p:txBody>
      </p:sp>
      <p:sp>
        <p:nvSpPr>
          <p:cNvPr id="15" name="Rectangle 14"/>
          <p:cNvSpPr/>
          <p:nvPr/>
        </p:nvSpPr>
        <p:spPr>
          <a:xfrm>
            <a:off x="1043988" y="2338456"/>
            <a:ext cx="1609201" cy="1332348"/>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6" name="Group 15"/>
          <p:cNvGrpSpPr/>
          <p:nvPr/>
        </p:nvGrpSpPr>
        <p:grpSpPr>
          <a:xfrm>
            <a:off x="1094906" y="2383708"/>
            <a:ext cx="1496000" cy="1316872"/>
            <a:chOff x="757437" y="2519885"/>
            <a:chExt cx="1987953" cy="1749921"/>
          </a:xfrm>
          <a:solidFill>
            <a:schemeClr val="bg1">
              <a:alpha val="15000"/>
            </a:schemeClr>
          </a:solidFill>
        </p:grpSpPr>
        <p:sp>
          <p:nvSpPr>
            <p:cNvPr id="35"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6" name="Oval 35"/>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7" name="Oval 36"/>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8" name="Oval 37"/>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39" name="Oval 38"/>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0" name="Oval 39"/>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1"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42" name="Oval 41"/>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3"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44"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45"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46"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47"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 name="Rectangle 16"/>
          <p:cNvSpPr/>
          <p:nvPr/>
        </p:nvSpPr>
        <p:spPr>
          <a:xfrm>
            <a:off x="985542" y="2292293"/>
            <a:ext cx="1727736" cy="14535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cxnSp>
        <p:nvCxnSpPr>
          <p:cNvPr id="72" name="Straight Connector 71"/>
          <p:cNvCxnSpPr/>
          <p:nvPr/>
        </p:nvCxnSpPr>
        <p:spPr>
          <a:xfrm flipV="1">
            <a:off x="2505824" y="1999790"/>
            <a:ext cx="0" cy="136245"/>
          </a:xfrm>
          <a:prstGeom prst="line">
            <a:avLst/>
          </a:prstGeom>
          <a:ln w="38100">
            <a:solidFill>
              <a:srgbClr val="00175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2494182" y="2017686"/>
            <a:ext cx="552854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004134" y="1999400"/>
            <a:ext cx="0" cy="27442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984771" y="4763921"/>
            <a:ext cx="1727736" cy="1453540"/>
            <a:chOff x="1003776" y="4859143"/>
            <a:chExt cx="1762631" cy="1482898"/>
          </a:xfrm>
        </p:grpSpPr>
        <p:sp>
          <p:nvSpPr>
            <p:cNvPr id="169" name="Rectangle 168"/>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endParaRPr lang="en-US" sz="3600" b="1" kern="0" dirty="0">
                <a:gradFill>
                  <a:gsLst>
                    <a:gs pos="100000">
                      <a:srgbClr val="FFFFFF"/>
                    </a:gs>
                    <a:gs pos="31000">
                      <a:srgbClr val="FFFFFF"/>
                    </a:gs>
                  </a:gsLst>
                  <a:lin ang="5400000" scaled="0"/>
                </a:gradFill>
                <a:latin typeface="Segoe UI"/>
              </a:endParaRPr>
            </a:p>
          </p:txBody>
        </p:sp>
        <p:grpSp>
          <p:nvGrpSpPr>
            <p:cNvPr id="170" name="Group 169"/>
            <p:cNvGrpSpPr/>
            <p:nvPr/>
          </p:nvGrpSpPr>
          <p:grpSpPr>
            <a:xfrm>
              <a:off x="1115352" y="4952406"/>
              <a:ext cx="1526214" cy="1343469"/>
              <a:chOff x="757437" y="2519885"/>
              <a:chExt cx="1987953" cy="1749921"/>
            </a:xfrm>
            <a:solidFill>
              <a:schemeClr val="bg1">
                <a:alpha val="15000"/>
              </a:schemeClr>
            </a:solidFill>
          </p:grpSpPr>
          <p:sp>
            <p:nvSpPr>
              <p:cNvPr id="172"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3" name="Oval 172"/>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4" name="Oval 173"/>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5" name="Oval 174"/>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6" name="Oval 175"/>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7" name="Oval 176"/>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78"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dirty="0">
                  <a:gradFill>
                    <a:gsLst>
                      <a:gs pos="100000">
                        <a:srgbClr val="FFFFFF"/>
                      </a:gs>
                      <a:gs pos="31000">
                        <a:srgbClr val="FFFFFF"/>
                      </a:gs>
                    </a:gsLst>
                    <a:lin ang="5400000" scaled="0"/>
                  </a:gradFill>
                  <a:latin typeface="Segoe UI"/>
                </a:endParaRPr>
              </a:p>
            </p:txBody>
          </p:sp>
          <p:sp>
            <p:nvSpPr>
              <p:cNvPr id="179" name="Oval 178"/>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0"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sz="2400"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1"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5" tIns="45688" rIns="91375" bIns="45688" numCol="1" anchor="t" anchorCtr="0" compatLnSpc="1">
                <a:prstTxWarp prst="textNoShape">
                  <a:avLst/>
                </a:prstTxWarp>
              </a:bodyPr>
              <a:lstStyle/>
              <a:p>
                <a:pPr defTabSz="913523">
                  <a:defRPr/>
                </a:pPr>
                <a:endParaRPr lang="en-US" sz="1600" kern="0">
                  <a:gradFill>
                    <a:gsLst>
                      <a:gs pos="100000">
                        <a:srgbClr val="FFFFFF"/>
                      </a:gs>
                      <a:gs pos="31000">
                        <a:srgbClr val="FFFFFF"/>
                      </a:gs>
                    </a:gsLst>
                    <a:lin ang="5400000" scaled="0"/>
                  </a:gradFill>
                  <a:latin typeface="Segoe UI"/>
                </a:endParaRPr>
              </a:p>
            </p:txBody>
          </p:sp>
          <p:sp>
            <p:nvSpPr>
              <p:cNvPr id="182"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75" tIns="45688" rIns="91375" bIns="45688" numCol="1" anchor="t" anchorCtr="0" compatLnSpc="1">
                <a:prstTxWarp prst="textNoShape">
                  <a:avLst/>
                </a:prstTxWarp>
              </a:bodyPr>
              <a:lstStyle/>
              <a:p>
                <a:pPr defTabSz="913523">
                  <a:defRPr/>
                </a:pPr>
                <a:endParaRPr lang="en-US" kern="0">
                  <a:gradFill>
                    <a:gsLst>
                      <a:gs pos="100000">
                        <a:srgbClr val="FFFFFF"/>
                      </a:gs>
                      <a:gs pos="31000">
                        <a:srgbClr val="FFFFFF"/>
                      </a:gs>
                    </a:gsLst>
                    <a:lin ang="5400000" scaled="0"/>
                  </a:gradFill>
                  <a:latin typeface="Segoe UI"/>
                </a:endParaRPr>
              </a:p>
            </p:txBody>
          </p:sp>
          <p:sp>
            <p:nvSpPr>
              <p:cNvPr id="183"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194" tIns="46597" rIns="93194" bIns="46597" numCol="1" anchor="t" anchorCtr="0" compatLnSpc="1">
                <a:prstTxWarp prst="textNoShape">
                  <a:avLst/>
                </a:prstTxWarp>
              </a:bodyPr>
              <a:lstStyle/>
              <a:p>
                <a:pPr defTabSz="931664">
                  <a:defRPr/>
                </a:pPr>
                <a:endParaRPr lang="en-US" sz="1836" kern="0">
                  <a:gradFill>
                    <a:gsLst>
                      <a:gs pos="100000">
                        <a:srgbClr val="FFFFFF"/>
                      </a:gs>
                      <a:gs pos="31000">
                        <a:srgbClr val="FFFFFF"/>
                      </a:gs>
                    </a:gsLst>
                    <a:lin ang="5400000" scaled="0"/>
                  </a:gradFill>
                  <a:latin typeface="Segoe UI"/>
                </a:endParaRPr>
              </a:p>
            </p:txBody>
          </p:sp>
          <p:sp>
            <p:nvSpPr>
              <p:cNvPr id="184"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1" rIns="182750" bIns="146201" numCol="1" spcCol="0" rtlCol="0" fromWordArt="0" anchor="t" anchorCtr="0" forceAA="0" compatLnSpc="1">
                <a:prstTxWarp prst="textNoShape">
                  <a:avLst/>
                </a:prstTxWarp>
                <a:noAutofit/>
              </a:bodyPr>
              <a:lstStyle/>
              <a:p>
                <a:pPr algn="ctr" defTabSz="931578">
                  <a:lnSpc>
                    <a:spcPct val="90000"/>
                  </a:lnSpc>
                  <a:defRPr/>
                </a:pPr>
                <a:endParaRPr lang="en-US"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71" name="Rectangle 170"/>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523">
                <a:defRPr/>
              </a:pPr>
              <a:r>
                <a:rPr lang="en-US"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sp>
        <p:nvSpPr>
          <p:cNvPr id="192" name="Rectangle 191"/>
          <p:cNvSpPr/>
          <p:nvPr/>
        </p:nvSpPr>
        <p:spPr bwMode="auto">
          <a:xfrm>
            <a:off x="5331157"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endPar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07" name="TextBox 206"/>
          <p:cNvSpPr txBox="1"/>
          <p:nvPr/>
        </p:nvSpPr>
        <p:spPr>
          <a:xfrm>
            <a:off x="5996193" y="5058885"/>
            <a:ext cx="896024" cy="275161"/>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xcel</a:t>
            </a:r>
          </a:p>
        </p:txBody>
      </p:sp>
      <p:sp>
        <p:nvSpPr>
          <p:cNvPr id="208" name="TextBox 207"/>
          <p:cNvSpPr txBox="1"/>
          <p:nvPr/>
        </p:nvSpPr>
        <p:spPr>
          <a:xfrm>
            <a:off x="5996193" y="5526394"/>
            <a:ext cx="896024" cy="459816"/>
          </a:xfrm>
          <a:prstGeom prst="rect">
            <a:avLst/>
          </a:prstGeom>
          <a:noFill/>
        </p:spPr>
        <p:txBody>
          <a:bodyPr wrap="square" rtlCol="0">
            <a:spAutoFit/>
          </a:bodyPr>
          <a:lstStyle/>
          <a:p>
            <a:pP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Power BI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Desktop</a:t>
            </a:r>
          </a:p>
        </p:txBody>
      </p:sp>
      <p:sp>
        <p:nvSpPr>
          <p:cNvPr id="209" name="Freeform 271"/>
          <p:cNvSpPr/>
          <p:nvPr/>
        </p:nvSpPr>
        <p:spPr>
          <a:xfrm>
            <a:off x="5576252" y="5629130"/>
            <a:ext cx="323901" cy="24454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dirty="0">
              <a:gradFill>
                <a:gsLst>
                  <a:gs pos="100000">
                    <a:srgbClr val="FFFFFF"/>
                  </a:gs>
                  <a:gs pos="31000">
                    <a:srgbClr val="FFFFFF"/>
                  </a:gs>
                </a:gsLst>
                <a:lin ang="5400000" scaled="0"/>
              </a:gradFill>
              <a:latin typeface="Segoe UI"/>
            </a:endParaRPr>
          </a:p>
        </p:txBody>
      </p:sp>
      <p:sp>
        <p:nvSpPr>
          <p:cNvPr id="210" name="Freeform 283"/>
          <p:cNvSpPr/>
          <p:nvPr/>
        </p:nvSpPr>
        <p:spPr bwMode="auto">
          <a:xfrm>
            <a:off x="5594568" y="5047459"/>
            <a:ext cx="293015" cy="303419"/>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2400" kern="0" dirty="0" err="1">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86" name="Rectangle 185"/>
          <p:cNvSpPr/>
          <p:nvPr/>
        </p:nvSpPr>
        <p:spPr bwMode="auto">
          <a:xfrm>
            <a:off x="7133599" y="4810085"/>
            <a:ext cx="1696986" cy="1328384"/>
          </a:xfrm>
          <a:prstGeom prst="rect">
            <a:avLst/>
          </a:prstGeom>
          <a:solidFill>
            <a:schemeClr val="bg2"/>
          </a:solidFill>
          <a:ln w="38100">
            <a:solidFill>
              <a:srgbClr val="7F7F7F"/>
            </a:solidFill>
          </a:ln>
        </p:spPr>
        <p:txBody>
          <a:bodyPr wrap="square" bIns="179259" rtlCol="0" anchor="b" anchorCtr="0">
            <a:noAutofit/>
          </a:bodyPr>
          <a:lstStyle/>
          <a:p>
            <a:pPr algn="ctr" defTabSz="895698"/>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SQL Server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Reporting Services</a:t>
            </a:r>
          </a:p>
        </p:txBody>
      </p:sp>
      <p:sp>
        <p:nvSpPr>
          <p:cNvPr id="211" name="Freeform 75"/>
          <p:cNvSpPr>
            <a:spLocks noChangeAspect="1" noEditPoints="1"/>
          </p:cNvSpPr>
          <p:nvPr/>
        </p:nvSpPr>
        <p:spPr bwMode="auto">
          <a:xfrm>
            <a:off x="7778474" y="5005987"/>
            <a:ext cx="389227" cy="470272"/>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accent5"/>
          </a:solidFill>
          <a:ln>
            <a:noFill/>
          </a:ln>
        </p:spPr>
        <p:txBody>
          <a:bodyPr vert="horz" wrap="square" lIns="89592" tIns="44796" rIns="89592" bIns="44796"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89" name="TextBox 188"/>
          <p:cNvSpPr txBox="1"/>
          <p:nvPr/>
        </p:nvSpPr>
        <p:spPr>
          <a:xfrm>
            <a:off x="3537940" y="4810084"/>
            <a:ext cx="1693522" cy="1328383"/>
          </a:xfrm>
          <a:prstGeom prst="rect">
            <a:avLst/>
          </a:prstGeom>
          <a:solidFill>
            <a:schemeClr val="bg2"/>
          </a:solidFill>
          <a:ln w="38100">
            <a:solidFill>
              <a:srgbClr val="7F7F7F"/>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SQL Server </a:t>
            </a:r>
          </a:p>
          <a:p>
            <a:pPr defTabSz="895698"/>
            <a:r>
              <a:rPr lang="en-US" sz="1175" dirty="0">
                <a:gradFill>
                  <a:gsLst>
                    <a:gs pos="88182">
                      <a:srgbClr val="353535"/>
                    </a:gs>
                    <a:gs pos="69000">
                      <a:srgbClr val="353535"/>
                    </a:gs>
                  </a:gsLst>
                  <a:lin ang="5400000" scaled="0"/>
                </a:gradFill>
              </a:rPr>
              <a:t>Analysis Services</a:t>
            </a:r>
          </a:p>
        </p:txBody>
      </p:sp>
      <p:sp>
        <p:nvSpPr>
          <p:cNvPr id="212" name="Freeform 429"/>
          <p:cNvSpPr>
            <a:spLocks noChangeAspect="1"/>
          </p:cNvSpPr>
          <p:nvPr/>
        </p:nvSpPr>
        <p:spPr bwMode="auto">
          <a:xfrm>
            <a:off x="4200883" y="5070938"/>
            <a:ext cx="361765" cy="395016"/>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accent5"/>
          </a:solidFill>
          <a:ln>
            <a:noFill/>
          </a:ln>
        </p:spPr>
        <p:txBody>
          <a:bodyPr vert="horz" wrap="square" lIns="89592" tIns="44796" rIns="89592" bIns="44796" numCol="1" anchor="t" anchorCtr="0" compatLnSpc="1">
            <a:prstTxWarp prst="textNoShape">
              <a:avLst/>
            </a:prstTxWarp>
            <a:noAutofit/>
          </a:bodyPr>
          <a:lstStyle/>
          <a:p>
            <a:pPr defTabSz="912803" fontAlgn="base">
              <a:spcBef>
                <a:spcPct val="0"/>
              </a:spcBef>
              <a:spcAft>
                <a:spcPct val="0"/>
              </a:spcAft>
              <a:defRPr/>
            </a:pPr>
            <a:endParaRPr lang="en-US" sz="2353" kern="0" dirty="0">
              <a:gradFill>
                <a:gsLst>
                  <a:gs pos="100000">
                    <a:srgbClr val="FFFFFF"/>
                  </a:gs>
                  <a:gs pos="31000">
                    <a:srgbClr val="FFFFFF"/>
                  </a:gs>
                </a:gsLst>
                <a:lin ang="5400000" scaled="0"/>
              </a:gradFill>
              <a:latin typeface="Segoe UI"/>
            </a:endParaRPr>
          </a:p>
        </p:txBody>
      </p:sp>
      <p:sp>
        <p:nvSpPr>
          <p:cNvPr id="251" name="Freeform 271"/>
          <p:cNvSpPr/>
          <p:nvPr/>
        </p:nvSpPr>
        <p:spPr>
          <a:xfrm>
            <a:off x="5935056" y="2716754"/>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sp>
        <p:nvSpPr>
          <p:cNvPr id="254" name="Freeform 271"/>
          <p:cNvSpPr/>
          <p:nvPr/>
        </p:nvSpPr>
        <p:spPr>
          <a:xfrm>
            <a:off x="7729918" y="2724548"/>
            <a:ext cx="492829" cy="372084"/>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5"/>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698">
              <a:defRPr/>
            </a:pPr>
            <a:endParaRPr lang="en-US" kern="0">
              <a:gradFill>
                <a:gsLst>
                  <a:gs pos="100000">
                    <a:srgbClr val="FFFFFF"/>
                  </a:gs>
                  <a:gs pos="31000">
                    <a:srgbClr val="FFFFFF"/>
                  </a:gs>
                </a:gsLst>
                <a:lin ang="5400000" scaled="0"/>
              </a:gradFill>
              <a:latin typeface="Segoe UI"/>
            </a:endParaRPr>
          </a:p>
        </p:txBody>
      </p:sp>
      <p:cxnSp>
        <p:nvCxnSpPr>
          <p:cNvPr id="71" name="Straight Arrow Connector 70"/>
          <p:cNvCxnSpPr>
            <a:cxnSpLocks/>
          </p:cNvCxnSpPr>
          <p:nvPr/>
        </p:nvCxnSpPr>
        <p:spPr>
          <a:xfrm>
            <a:off x="6924749" y="3038424"/>
            <a:ext cx="26888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1046494" y="3952930"/>
            <a:ext cx="8473070" cy="583068"/>
            <a:chOff x="1066746" y="4031774"/>
            <a:chExt cx="8644199" cy="594844"/>
          </a:xfrm>
        </p:grpSpPr>
        <p:cxnSp>
          <p:nvCxnSpPr>
            <p:cNvPr id="204" name="Straight Connector 203"/>
            <p:cNvCxnSpPr/>
            <p:nvPr/>
          </p:nvCxnSpPr>
          <p:spPr>
            <a:xfrm>
              <a:off x="1119062" y="4333994"/>
              <a:ext cx="8591883" cy="16199"/>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5" name="TextBox 204"/>
            <p:cNvSpPr txBox="1"/>
            <p:nvPr/>
          </p:nvSpPr>
          <p:spPr>
            <a:xfrm>
              <a:off x="1069933" y="4031774"/>
              <a:ext cx="104434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Cloud</a:t>
              </a:r>
            </a:p>
          </p:txBody>
        </p:sp>
        <p:sp>
          <p:nvSpPr>
            <p:cNvPr id="206" name="TextBox 205"/>
            <p:cNvSpPr txBox="1"/>
            <p:nvPr/>
          </p:nvSpPr>
          <p:spPr>
            <a:xfrm>
              <a:off x="1066746" y="4335359"/>
              <a:ext cx="1193923" cy="266725"/>
            </a:xfrm>
            <a:prstGeom prst="rect">
              <a:avLst/>
            </a:prstGeom>
            <a:noFill/>
          </p:spPr>
          <p:txBody>
            <a:bodyPr wrap="square" rtlCol="0">
              <a:spAutoFit/>
            </a:bodyPr>
            <a:lstStyle/>
            <a:p>
              <a:pPr defTabSz="913347">
                <a:defRPr/>
              </a:pPr>
              <a:r>
                <a:rPr lang="en-US" sz="1077" b="1" kern="0" dirty="0">
                  <a:gradFill>
                    <a:gsLst>
                      <a:gs pos="11504">
                        <a:srgbClr val="353535"/>
                      </a:gs>
                      <a:gs pos="37168">
                        <a:srgbClr val="353535"/>
                      </a:gs>
                    </a:gsLst>
                    <a:lin ang="5400000" scaled="0"/>
                  </a:gradFill>
                  <a:latin typeface="Segoe UI"/>
                </a:rPr>
                <a:t>On-premises</a:t>
              </a:r>
            </a:p>
          </p:txBody>
        </p:sp>
        <p:sp>
          <p:nvSpPr>
            <p:cNvPr id="196" name="Rectangle 195"/>
            <p:cNvSpPr/>
            <p:nvPr/>
          </p:nvSpPr>
          <p:spPr>
            <a:xfrm>
              <a:off x="2895108" y="4191473"/>
              <a:ext cx="6197259" cy="291208"/>
            </a:xfrm>
            <a:prstGeom prst="rect">
              <a:avLst/>
            </a:prstGeom>
            <a:solidFill>
              <a:srgbClr val="D9D9D9"/>
            </a:solidFill>
            <a:ln w="508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650256" rtlCol="0" anchor="ctr"/>
            <a:lstStyle/>
            <a:p>
              <a:pPr defTabSz="913347">
                <a:lnSpc>
                  <a:spcPct val="90000"/>
                </a:lnSpc>
                <a:defRPr/>
              </a:pPr>
              <a:r>
                <a:rPr lang="en-US" sz="1077" b="1" kern="0" dirty="0">
                  <a:gradFill>
                    <a:gsLst>
                      <a:gs pos="5310">
                        <a:srgbClr val="353535"/>
                      </a:gs>
                      <a:gs pos="66000">
                        <a:srgbClr val="353535"/>
                      </a:gs>
                    </a:gsLst>
                    <a:lin ang="5400000" scaled="0"/>
                  </a:gradFill>
                  <a:latin typeface="Segoe UI"/>
                </a:rPr>
                <a:t>On–premises data gateway</a:t>
              </a:r>
            </a:p>
          </p:txBody>
        </p:sp>
        <p:grpSp>
          <p:nvGrpSpPr>
            <p:cNvPr id="197" name="Group 4"/>
            <p:cNvGrpSpPr>
              <a:grpSpLocks noChangeAspect="1"/>
            </p:cNvGrpSpPr>
            <p:nvPr/>
          </p:nvGrpSpPr>
          <p:grpSpPr bwMode="auto">
            <a:xfrm>
              <a:off x="4905818" y="4040466"/>
              <a:ext cx="584746" cy="586152"/>
              <a:chOff x="3826" y="3056"/>
              <a:chExt cx="416" cy="417"/>
            </a:xfrm>
          </p:grpSpPr>
          <p:sp>
            <p:nvSpPr>
              <p:cNvPr id="19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19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2C6"/>
              </a:solidFill>
              <a:ln w="15875">
                <a:solidFill>
                  <a:schemeClr val="bg1"/>
                </a:solidFill>
                <a:round/>
                <a:headEnd/>
                <a:tailEnd/>
              </a:ln>
              <a:extLst/>
            </p:spPr>
            <p:txBody>
              <a:bodyPr vert="horz" wrap="square" lIns="89592" tIns="44796" rIns="89592" bIns="44796" numCol="1" anchor="t" anchorCtr="0" compatLnSpc="1">
                <a:prstTxWarp prst="textNoShape">
                  <a:avLst/>
                </a:prstTxWarp>
              </a:bodyPr>
              <a:lstStyle/>
              <a:p>
                <a:pPr defTabSz="895698">
                  <a:defRPr/>
                </a:pPr>
                <a:endParaRPr lang="en-US" sz="1765" kern="0" dirty="0">
                  <a:solidFill>
                    <a:sysClr val="windowText" lastClr="000000"/>
                  </a:solidFill>
                  <a:latin typeface="Segoe UI"/>
                </a:endParaRPr>
              </a:p>
            </p:txBody>
          </p:sp>
          <p:sp>
            <p:nvSpPr>
              <p:cNvPr id="20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sp>
            <p:nvSpPr>
              <p:cNvPr id="20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cxnSp>
        <p:nvCxnSpPr>
          <p:cNvPr id="255" name="Straight Arrow Connector 254"/>
          <p:cNvCxnSpPr/>
          <p:nvPr/>
        </p:nvCxnSpPr>
        <p:spPr>
          <a:xfrm flipV="1">
            <a:off x="8147632" y="3752822"/>
            <a:ext cx="0" cy="28771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flipV="1">
            <a:off x="6235559" y="3752821"/>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p:nvPr/>
        </p:nvCxnSpPr>
        <p:spPr>
          <a:xfrm flipV="1">
            <a:off x="4319697"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V="1">
            <a:off x="6235559" y="4436337"/>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8147632" y="4434272"/>
            <a:ext cx="0" cy="28771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flipH="1">
            <a:off x="2498818" y="6316633"/>
            <a:ext cx="3105" cy="17989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cxnSpLocks/>
          </p:cNvCxnSpPr>
          <p:nvPr/>
        </p:nvCxnSpPr>
        <p:spPr>
          <a:xfrm flipV="1">
            <a:off x="2498819" y="6476845"/>
            <a:ext cx="5648813" cy="446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cxnSpLocks/>
          </p:cNvCxnSpPr>
          <p:nvPr/>
        </p:nvCxnSpPr>
        <p:spPr>
          <a:xfrm flipV="1">
            <a:off x="8157777"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a:off x="6188121"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p:cNvCxnSpPr/>
          <p:nvPr/>
        </p:nvCxnSpPr>
        <p:spPr>
          <a:xfrm>
            <a:off x="8889305" y="5497028"/>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468239" y="1589697"/>
            <a:ext cx="7497162" cy="313454"/>
            <a:chOff x="3537403" y="1620815"/>
            <a:chExt cx="7648581" cy="319785"/>
          </a:xfrm>
        </p:grpSpPr>
        <p:sp>
          <p:nvSpPr>
            <p:cNvPr id="280" name="TextBox 279"/>
            <p:cNvSpPr txBox="1"/>
            <p:nvPr/>
          </p:nvSpPr>
          <p:spPr>
            <a:xfrm>
              <a:off x="3537403" y="1626783"/>
              <a:ext cx="1793523" cy="313817"/>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Model</a:t>
              </a:r>
            </a:p>
          </p:txBody>
        </p:sp>
        <p:sp>
          <p:nvSpPr>
            <p:cNvPr id="281" name="TextBox 280"/>
            <p:cNvSpPr txBox="1"/>
            <p:nvPr/>
          </p:nvSpPr>
          <p:spPr>
            <a:xfrm>
              <a:off x="5330928" y="1620815"/>
              <a:ext cx="1939988"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Analyze &amp; Author</a:t>
              </a:r>
            </a:p>
          </p:txBody>
        </p:sp>
        <p:sp>
          <p:nvSpPr>
            <p:cNvPr id="282" name="TextBox 281"/>
            <p:cNvSpPr txBox="1"/>
            <p:nvPr/>
          </p:nvSpPr>
          <p:spPr>
            <a:xfrm>
              <a:off x="7323564" y="1625560"/>
              <a:ext cx="1744393"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Deliver</a:t>
              </a:r>
            </a:p>
          </p:txBody>
        </p:sp>
        <p:sp>
          <p:nvSpPr>
            <p:cNvPr id="283" name="TextBox 282"/>
            <p:cNvSpPr txBox="1"/>
            <p:nvPr/>
          </p:nvSpPr>
          <p:spPr>
            <a:xfrm>
              <a:off x="10069034" y="1625559"/>
              <a:ext cx="1116950" cy="313818"/>
            </a:xfrm>
            <a:prstGeom prst="rect">
              <a:avLst/>
            </a:prstGeom>
            <a:noFill/>
          </p:spPr>
          <p:txBody>
            <a:bodyPr wrap="square" rtlCol="0">
              <a:spAutoFit/>
            </a:bodyPr>
            <a:lstStyle/>
            <a:p>
              <a:pPr algn="ctr" defTabSz="895698">
                <a:spcAft>
                  <a:spcPts val="588"/>
                </a:spcAft>
                <a:defRPr/>
              </a:pPr>
              <a:r>
                <a:rPr lang="en-US" sz="1371" b="1" kern="0" dirty="0">
                  <a:gradFill>
                    <a:gsLst>
                      <a:gs pos="60177">
                        <a:srgbClr val="353535"/>
                      </a:gs>
                      <a:gs pos="31000">
                        <a:srgbClr val="353535"/>
                      </a:gs>
                    </a:gsLst>
                    <a:lin ang="5400000" scaled="0"/>
                  </a:gradFill>
                  <a:latin typeface="Segoe UI"/>
                </a:rPr>
                <a:t>Visualize</a:t>
              </a:r>
            </a:p>
          </p:txBody>
        </p:sp>
      </p:grpSp>
      <p:sp>
        <p:nvSpPr>
          <p:cNvPr id="284" name="Rectangle 283"/>
          <p:cNvSpPr/>
          <p:nvPr/>
        </p:nvSpPr>
        <p:spPr>
          <a:xfrm>
            <a:off x="9592133" y="2337403"/>
            <a:ext cx="1622350" cy="3801065"/>
          </a:xfrm>
          <a:prstGeom prst="rect">
            <a:avLst/>
          </a:prstGeom>
          <a:solidFill>
            <a:schemeClr val="bg2"/>
          </a:solidFill>
          <a:ln w="381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1765" kern="0">
              <a:solidFill>
                <a:srgbClr val="FFFFFF"/>
              </a:solidFill>
              <a:latin typeface="Segoe UI"/>
            </a:endParaRPr>
          </a:p>
        </p:txBody>
      </p:sp>
      <p:sp>
        <p:nvSpPr>
          <p:cNvPr id="299" name="TextBox 298"/>
          <p:cNvSpPr txBox="1"/>
          <p:nvPr/>
        </p:nvSpPr>
        <p:spPr>
          <a:xfrm>
            <a:off x="10059689" y="4424782"/>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Web</a:t>
            </a:r>
          </a:p>
        </p:txBody>
      </p:sp>
      <p:sp>
        <p:nvSpPr>
          <p:cNvPr id="301" name="Rectangle 300"/>
          <p:cNvSpPr/>
          <p:nvPr/>
        </p:nvSpPr>
        <p:spPr bwMode="auto">
          <a:xfrm>
            <a:off x="10069498" y="3849344"/>
            <a:ext cx="667623" cy="4239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err="1">
              <a:solidFill>
                <a:srgbClr val="FFFFFF"/>
              </a:solidFill>
              <a:latin typeface="Segoe UI"/>
              <a:ea typeface="Segoe UI" pitchFamily="34" charset="0"/>
              <a:cs typeface="Segoe UI" pitchFamily="34" charset="0"/>
            </a:endParaRPr>
          </a:p>
        </p:txBody>
      </p:sp>
      <p:sp>
        <p:nvSpPr>
          <p:cNvPr id="303" name="Freeform 13"/>
          <p:cNvSpPr>
            <a:spLocks noEditPoints="1"/>
          </p:cNvSpPr>
          <p:nvPr/>
        </p:nvSpPr>
        <p:spPr bwMode="auto">
          <a:xfrm>
            <a:off x="9942219" y="3839768"/>
            <a:ext cx="922181" cy="499535"/>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31614">
              <a:defRPr/>
            </a:pPr>
            <a:endParaRPr lang="en-US" sz="980" b="1" kern="0">
              <a:solidFill>
                <a:srgbClr val="FFFFFF"/>
              </a:solidFill>
              <a:latin typeface="Segoe UI"/>
            </a:endParaRPr>
          </a:p>
        </p:txBody>
      </p:sp>
      <p:sp>
        <p:nvSpPr>
          <p:cNvPr id="304" name="Line Chart Right 3"/>
          <p:cNvSpPr/>
          <p:nvPr/>
        </p:nvSpPr>
        <p:spPr bwMode="auto">
          <a:xfrm rot="2700000">
            <a:off x="10315946" y="3915464"/>
            <a:ext cx="261733" cy="367877"/>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96" name="TextBox 295"/>
          <p:cNvSpPr txBox="1"/>
          <p:nvPr/>
        </p:nvSpPr>
        <p:spPr>
          <a:xfrm>
            <a:off x="9874535" y="5558360"/>
            <a:ext cx="1057549" cy="424415"/>
          </a:xfrm>
          <a:prstGeom prst="rect">
            <a:avLst/>
          </a:prstGeom>
          <a:noFill/>
        </p:spPr>
        <p:txBody>
          <a:bodyPr wrap="square" rtlCol="0">
            <a:spAutoFit/>
          </a:bodyPr>
          <a:lstStyle/>
          <a:p>
            <a:pPr algn="ctr" defTabSz="895698">
              <a:lnSpc>
                <a:spcPct val="90000"/>
              </a:lnSpc>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Embedded </a:t>
            </a:r>
            <a:b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b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in your apps</a:t>
            </a:r>
          </a:p>
        </p:txBody>
      </p:sp>
      <p:sp>
        <p:nvSpPr>
          <p:cNvPr id="295" name="Freeform 9"/>
          <p:cNvSpPr>
            <a:spLocks noEditPoints="1"/>
          </p:cNvSpPr>
          <p:nvPr/>
        </p:nvSpPr>
        <p:spPr bwMode="auto">
          <a:xfrm>
            <a:off x="10073350" y="4877103"/>
            <a:ext cx="659921" cy="580912"/>
          </a:xfrm>
          <a:custGeom>
            <a:avLst/>
            <a:gdLst>
              <a:gd name="T0" fmla="*/ 0 w 2338"/>
              <a:gd name="T1" fmla="*/ 200 h 1783"/>
              <a:gd name="T2" fmla="*/ 2338 w 2338"/>
              <a:gd name="T3" fmla="*/ 34 h 1783"/>
              <a:gd name="T4" fmla="*/ 1755 w 2338"/>
              <a:gd name="T5" fmla="*/ 143 h 1783"/>
              <a:gd name="T6" fmla="*/ 1921 w 2338"/>
              <a:gd name="T7" fmla="*/ 160 h 1783"/>
              <a:gd name="T8" fmla="*/ 2190 w 2338"/>
              <a:gd name="T9" fmla="*/ 160 h 1783"/>
              <a:gd name="T10" fmla="*/ 2104 w 2338"/>
              <a:gd name="T11" fmla="*/ 160 h 1783"/>
              <a:gd name="T12" fmla="*/ 2104 w 2338"/>
              <a:gd name="T13" fmla="*/ 74 h 1783"/>
              <a:gd name="T14" fmla="*/ 2144 w 2338"/>
              <a:gd name="T15" fmla="*/ 114 h 1783"/>
              <a:gd name="T16" fmla="*/ 0 w 2338"/>
              <a:gd name="T17" fmla="*/ 308 h 1783"/>
              <a:gd name="T18" fmla="*/ 2338 w 2338"/>
              <a:gd name="T19" fmla="*/ 1749 h 1783"/>
              <a:gd name="T20" fmla="*/ 91 w 2338"/>
              <a:gd name="T21" fmla="*/ 1692 h 1783"/>
              <a:gd name="T22" fmla="*/ 1984 w 2338"/>
              <a:gd name="T23" fmla="*/ 97 h 1783"/>
              <a:gd name="T24" fmla="*/ 1984 w 2338"/>
              <a:gd name="T25" fmla="*/ 97 h 1783"/>
              <a:gd name="T26" fmla="*/ 712 w 2338"/>
              <a:gd name="T27" fmla="*/ 1321 h 1783"/>
              <a:gd name="T28" fmla="*/ 480 w 2338"/>
              <a:gd name="T29" fmla="*/ 1321 h 1783"/>
              <a:gd name="T30" fmla="*/ 757 w 2338"/>
              <a:gd name="T31" fmla="*/ 1369 h 1783"/>
              <a:gd name="T32" fmla="*/ 755 w 2338"/>
              <a:gd name="T33" fmla="*/ 726 h 1783"/>
              <a:gd name="T34" fmla="*/ 755 w 2338"/>
              <a:gd name="T35" fmla="*/ 855 h 1783"/>
              <a:gd name="T36" fmla="*/ 639 w 2338"/>
              <a:gd name="T37" fmla="*/ 855 h 1783"/>
              <a:gd name="T38" fmla="*/ 511 w 2338"/>
              <a:gd name="T39" fmla="*/ 855 h 1783"/>
              <a:gd name="T40" fmla="*/ 384 w 2338"/>
              <a:gd name="T41" fmla="*/ 855 h 1783"/>
              <a:gd name="T42" fmla="*/ 384 w 2338"/>
              <a:gd name="T43" fmla="*/ 971 h 1783"/>
              <a:gd name="T44" fmla="*/ 256 w 2338"/>
              <a:gd name="T45" fmla="*/ 991 h 1783"/>
              <a:gd name="T46" fmla="*/ 755 w 2338"/>
              <a:gd name="T47" fmla="*/ 687 h 1783"/>
              <a:gd name="T48" fmla="*/ 511 w 2338"/>
              <a:gd name="T49" fmla="*/ 874 h 1783"/>
              <a:gd name="T50" fmla="*/ 531 w 2338"/>
              <a:gd name="T51" fmla="*/ 874 h 1783"/>
              <a:gd name="T52" fmla="*/ 659 w 2338"/>
              <a:gd name="T53" fmla="*/ 971 h 1783"/>
              <a:gd name="T54" fmla="*/ 479 w 2338"/>
              <a:gd name="T55" fmla="*/ 726 h 1783"/>
              <a:gd name="T56" fmla="*/ 479 w 2338"/>
              <a:gd name="T57" fmla="*/ 726 h 1783"/>
              <a:gd name="T58" fmla="*/ 276 w 2338"/>
              <a:gd name="T59" fmla="*/ 726 h 1783"/>
              <a:gd name="T60" fmla="*/ 404 w 2338"/>
              <a:gd name="T61" fmla="*/ 657 h 1783"/>
              <a:gd name="T62" fmla="*/ 404 w 2338"/>
              <a:gd name="T63" fmla="*/ 598 h 1783"/>
              <a:gd name="T64" fmla="*/ 494 w 2338"/>
              <a:gd name="T65" fmla="*/ 598 h 1783"/>
              <a:gd name="T66" fmla="*/ 639 w 2338"/>
              <a:gd name="T67" fmla="*/ 661 h 1783"/>
              <a:gd name="T68" fmla="*/ 701 w 2338"/>
              <a:gd name="T69" fmla="*/ 598 h 1783"/>
              <a:gd name="T70" fmla="*/ 755 w 2338"/>
              <a:gd name="T71" fmla="*/ 545 h 1783"/>
              <a:gd name="T72" fmla="*/ 256 w 2338"/>
              <a:gd name="T73" fmla="*/ 805 h 1783"/>
              <a:gd name="T74" fmla="*/ 639 w 2338"/>
              <a:gd name="T75" fmla="*/ 490 h 1783"/>
              <a:gd name="T76" fmla="*/ 276 w 2338"/>
              <a:gd name="T77" fmla="*/ 490 h 1783"/>
              <a:gd name="T78" fmla="*/ 276 w 2338"/>
              <a:gd name="T79" fmla="*/ 490 h 1783"/>
              <a:gd name="T80" fmla="*/ 471 w 2338"/>
              <a:gd name="T81" fmla="*/ 704 h 1783"/>
              <a:gd name="T82" fmla="*/ 517 w 2338"/>
              <a:gd name="T83" fmla="*/ 735 h 1783"/>
              <a:gd name="T84" fmla="*/ 659 w 2338"/>
              <a:gd name="T85" fmla="*/ 755 h 1783"/>
              <a:gd name="T86" fmla="*/ 755 w 2338"/>
              <a:gd name="T87" fmla="*/ 659 h 1783"/>
              <a:gd name="T88" fmla="*/ 775 w 2338"/>
              <a:gd name="T89" fmla="*/ 553 h 1783"/>
              <a:gd name="T90" fmla="*/ 659 w 2338"/>
              <a:gd name="T91" fmla="*/ 669 h 1783"/>
              <a:gd name="T92" fmla="*/ 602 w 2338"/>
              <a:gd name="T93" fmla="*/ 726 h 1783"/>
              <a:gd name="T94" fmla="*/ 576 w 2338"/>
              <a:gd name="T95" fmla="*/ 709 h 1783"/>
              <a:gd name="T96" fmla="*/ 343 w 2338"/>
              <a:gd name="T97" fmla="*/ 745 h 1783"/>
              <a:gd name="T98" fmla="*/ 191 w 2338"/>
              <a:gd name="T99" fmla="*/ 898 h 1783"/>
              <a:gd name="T100" fmla="*/ 1112 w 2338"/>
              <a:gd name="T101" fmla="*/ 951 h 1783"/>
              <a:gd name="T102" fmla="*/ 2028 w 2338"/>
              <a:gd name="T103" fmla="*/ 848 h 1783"/>
              <a:gd name="T104" fmla="*/ 2028 w 2338"/>
              <a:gd name="T105" fmla="*/ 848 h 1783"/>
              <a:gd name="T106" fmla="*/ 1779 w 2338"/>
              <a:gd name="T107" fmla="*/ 1576 h 1783"/>
              <a:gd name="T108" fmla="*/ 1354 w 2338"/>
              <a:gd name="T109" fmla="*/ 1576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8" h="1783">
                <a:moveTo>
                  <a:pt x="2310" y="0"/>
                </a:moveTo>
                <a:cubicBezTo>
                  <a:pt x="28" y="0"/>
                  <a:pt x="28" y="0"/>
                  <a:pt x="28" y="0"/>
                </a:cubicBezTo>
                <a:cubicBezTo>
                  <a:pt x="11" y="0"/>
                  <a:pt x="0" y="11"/>
                  <a:pt x="0" y="34"/>
                </a:cubicBezTo>
                <a:cubicBezTo>
                  <a:pt x="0" y="200"/>
                  <a:pt x="0" y="200"/>
                  <a:pt x="0" y="200"/>
                </a:cubicBezTo>
                <a:cubicBezTo>
                  <a:pt x="0" y="217"/>
                  <a:pt x="11" y="228"/>
                  <a:pt x="28" y="228"/>
                </a:cubicBezTo>
                <a:cubicBezTo>
                  <a:pt x="2310" y="228"/>
                  <a:pt x="2310" y="228"/>
                  <a:pt x="2310" y="228"/>
                </a:cubicBezTo>
                <a:cubicBezTo>
                  <a:pt x="2327" y="228"/>
                  <a:pt x="2338" y="217"/>
                  <a:pt x="2338" y="200"/>
                </a:cubicBezTo>
                <a:cubicBezTo>
                  <a:pt x="2338" y="34"/>
                  <a:pt x="2338" y="34"/>
                  <a:pt x="2338" y="34"/>
                </a:cubicBezTo>
                <a:cubicBezTo>
                  <a:pt x="2338" y="11"/>
                  <a:pt x="2327" y="0"/>
                  <a:pt x="2310" y="0"/>
                </a:cubicBezTo>
                <a:close/>
                <a:moveTo>
                  <a:pt x="1858" y="160"/>
                </a:moveTo>
                <a:cubicBezTo>
                  <a:pt x="1755" y="160"/>
                  <a:pt x="1755" y="160"/>
                  <a:pt x="1755" y="160"/>
                </a:cubicBezTo>
                <a:cubicBezTo>
                  <a:pt x="1755" y="143"/>
                  <a:pt x="1755" y="143"/>
                  <a:pt x="1755" y="143"/>
                </a:cubicBezTo>
                <a:cubicBezTo>
                  <a:pt x="1858" y="143"/>
                  <a:pt x="1858" y="143"/>
                  <a:pt x="1858" y="143"/>
                </a:cubicBezTo>
                <a:lnTo>
                  <a:pt x="1858" y="160"/>
                </a:lnTo>
                <a:close/>
                <a:moveTo>
                  <a:pt x="2001" y="160"/>
                </a:moveTo>
                <a:cubicBezTo>
                  <a:pt x="1921" y="160"/>
                  <a:pt x="1921" y="160"/>
                  <a:pt x="1921" y="160"/>
                </a:cubicBezTo>
                <a:cubicBezTo>
                  <a:pt x="1921" y="74"/>
                  <a:pt x="1921" y="74"/>
                  <a:pt x="1921" y="74"/>
                </a:cubicBezTo>
                <a:cubicBezTo>
                  <a:pt x="2001" y="74"/>
                  <a:pt x="2001" y="74"/>
                  <a:pt x="2001" y="74"/>
                </a:cubicBezTo>
                <a:lnTo>
                  <a:pt x="2001" y="160"/>
                </a:lnTo>
                <a:close/>
                <a:moveTo>
                  <a:pt x="2190" y="160"/>
                </a:moveTo>
                <a:cubicBezTo>
                  <a:pt x="2161" y="160"/>
                  <a:pt x="2161" y="160"/>
                  <a:pt x="2161" y="160"/>
                </a:cubicBezTo>
                <a:cubicBezTo>
                  <a:pt x="2144" y="143"/>
                  <a:pt x="2144" y="143"/>
                  <a:pt x="2144" y="143"/>
                </a:cubicBezTo>
                <a:cubicBezTo>
                  <a:pt x="2132" y="131"/>
                  <a:pt x="2132" y="131"/>
                  <a:pt x="2132" y="131"/>
                </a:cubicBezTo>
                <a:cubicBezTo>
                  <a:pt x="2104" y="160"/>
                  <a:pt x="2104" y="160"/>
                  <a:pt x="2104" y="160"/>
                </a:cubicBezTo>
                <a:cubicBezTo>
                  <a:pt x="2075" y="160"/>
                  <a:pt x="2075" y="160"/>
                  <a:pt x="2075" y="160"/>
                </a:cubicBezTo>
                <a:cubicBezTo>
                  <a:pt x="2115" y="114"/>
                  <a:pt x="2115" y="114"/>
                  <a:pt x="2115" y="114"/>
                </a:cubicBezTo>
                <a:cubicBezTo>
                  <a:pt x="2075" y="74"/>
                  <a:pt x="2075" y="74"/>
                  <a:pt x="2075" y="74"/>
                </a:cubicBezTo>
                <a:cubicBezTo>
                  <a:pt x="2104" y="74"/>
                  <a:pt x="2104" y="74"/>
                  <a:pt x="2104" y="74"/>
                </a:cubicBezTo>
                <a:cubicBezTo>
                  <a:pt x="2132" y="103"/>
                  <a:pt x="2132" y="103"/>
                  <a:pt x="2132" y="103"/>
                </a:cubicBezTo>
                <a:cubicBezTo>
                  <a:pt x="2161" y="74"/>
                  <a:pt x="2161" y="74"/>
                  <a:pt x="2161" y="74"/>
                </a:cubicBezTo>
                <a:cubicBezTo>
                  <a:pt x="2190" y="74"/>
                  <a:pt x="2190" y="74"/>
                  <a:pt x="2190" y="74"/>
                </a:cubicBezTo>
                <a:cubicBezTo>
                  <a:pt x="2144" y="114"/>
                  <a:pt x="2144" y="114"/>
                  <a:pt x="2144" y="114"/>
                </a:cubicBezTo>
                <a:lnTo>
                  <a:pt x="2190" y="160"/>
                </a:lnTo>
                <a:close/>
                <a:moveTo>
                  <a:pt x="2310" y="274"/>
                </a:moveTo>
                <a:cubicBezTo>
                  <a:pt x="28" y="274"/>
                  <a:pt x="28" y="274"/>
                  <a:pt x="28" y="274"/>
                </a:cubicBezTo>
                <a:cubicBezTo>
                  <a:pt x="11" y="274"/>
                  <a:pt x="0" y="291"/>
                  <a:pt x="0" y="308"/>
                </a:cubicBezTo>
                <a:cubicBezTo>
                  <a:pt x="0" y="1749"/>
                  <a:pt x="0" y="1749"/>
                  <a:pt x="0" y="1749"/>
                </a:cubicBezTo>
                <a:cubicBezTo>
                  <a:pt x="0" y="1766"/>
                  <a:pt x="11" y="1783"/>
                  <a:pt x="28" y="1783"/>
                </a:cubicBezTo>
                <a:cubicBezTo>
                  <a:pt x="2310" y="1783"/>
                  <a:pt x="2310" y="1783"/>
                  <a:pt x="2310" y="1783"/>
                </a:cubicBezTo>
                <a:cubicBezTo>
                  <a:pt x="2327" y="1783"/>
                  <a:pt x="2338" y="1766"/>
                  <a:pt x="2338" y="1749"/>
                </a:cubicBezTo>
                <a:cubicBezTo>
                  <a:pt x="2338" y="308"/>
                  <a:pt x="2338" y="308"/>
                  <a:pt x="2338" y="308"/>
                </a:cubicBezTo>
                <a:cubicBezTo>
                  <a:pt x="2338" y="291"/>
                  <a:pt x="2327" y="274"/>
                  <a:pt x="2310" y="274"/>
                </a:cubicBezTo>
                <a:close/>
                <a:moveTo>
                  <a:pt x="2247" y="1692"/>
                </a:moveTo>
                <a:cubicBezTo>
                  <a:pt x="91" y="1692"/>
                  <a:pt x="91" y="1692"/>
                  <a:pt x="91" y="1692"/>
                </a:cubicBezTo>
                <a:cubicBezTo>
                  <a:pt x="91" y="366"/>
                  <a:pt x="91" y="366"/>
                  <a:pt x="91" y="366"/>
                </a:cubicBezTo>
                <a:cubicBezTo>
                  <a:pt x="2247" y="366"/>
                  <a:pt x="2247" y="366"/>
                  <a:pt x="2247" y="366"/>
                </a:cubicBezTo>
                <a:lnTo>
                  <a:pt x="2247" y="1692"/>
                </a:lnTo>
                <a:close/>
                <a:moveTo>
                  <a:pt x="1984" y="97"/>
                </a:moveTo>
                <a:cubicBezTo>
                  <a:pt x="1984" y="97"/>
                  <a:pt x="1984" y="97"/>
                  <a:pt x="1938" y="97"/>
                </a:cubicBezTo>
                <a:cubicBezTo>
                  <a:pt x="1938" y="97"/>
                  <a:pt x="1938" y="97"/>
                  <a:pt x="1938" y="143"/>
                </a:cubicBezTo>
                <a:cubicBezTo>
                  <a:pt x="1938" y="143"/>
                  <a:pt x="1938" y="143"/>
                  <a:pt x="1984" y="143"/>
                </a:cubicBezTo>
                <a:lnTo>
                  <a:pt x="1984" y="97"/>
                </a:lnTo>
                <a:close/>
                <a:moveTo>
                  <a:pt x="480" y="1552"/>
                </a:moveTo>
                <a:cubicBezTo>
                  <a:pt x="482" y="1552"/>
                  <a:pt x="482" y="1552"/>
                  <a:pt x="482" y="1552"/>
                </a:cubicBezTo>
                <a:cubicBezTo>
                  <a:pt x="481" y="1552"/>
                  <a:pt x="481" y="1552"/>
                  <a:pt x="480" y="1552"/>
                </a:cubicBezTo>
                <a:close/>
                <a:moveTo>
                  <a:pt x="712" y="1321"/>
                </a:moveTo>
                <a:cubicBezTo>
                  <a:pt x="712" y="1195"/>
                  <a:pt x="610" y="1092"/>
                  <a:pt x="482" y="1092"/>
                </a:cubicBezTo>
                <a:cubicBezTo>
                  <a:pt x="356" y="1092"/>
                  <a:pt x="253" y="1195"/>
                  <a:pt x="253" y="1321"/>
                </a:cubicBezTo>
                <a:cubicBezTo>
                  <a:pt x="253" y="1448"/>
                  <a:pt x="355" y="1551"/>
                  <a:pt x="480" y="1552"/>
                </a:cubicBezTo>
                <a:cubicBezTo>
                  <a:pt x="480" y="1321"/>
                  <a:pt x="480" y="1321"/>
                  <a:pt x="480" y="1321"/>
                </a:cubicBezTo>
                <a:cubicBezTo>
                  <a:pt x="712" y="1321"/>
                  <a:pt x="712" y="1321"/>
                  <a:pt x="712" y="1321"/>
                </a:cubicBezTo>
                <a:close/>
                <a:moveTo>
                  <a:pt x="525" y="1597"/>
                </a:moveTo>
                <a:cubicBezTo>
                  <a:pt x="526" y="1597"/>
                  <a:pt x="526" y="1597"/>
                  <a:pt x="528" y="1597"/>
                </a:cubicBezTo>
                <a:cubicBezTo>
                  <a:pt x="654" y="1597"/>
                  <a:pt x="757" y="1494"/>
                  <a:pt x="757" y="1369"/>
                </a:cubicBezTo>
                <a:cubicBezTo>
                  <a:pt x="525" y="1369"/>
                  <a:pt x="525" y="1369"/>
                  <a:pt x="525" y="1369"/>
                </a:cubicBezTo>
                <a:lnTo>
                  <a:pt x="525" y="1597"/>
                </a:lnTo>
                <a:close/>
                <a:moveTo>
                  <a:pt x="755" y="687"/>
                </a:moveTo>
                <a:cubicBezTo>
                  <a:pt x="755" y="726"/>
                  <a:pt x="755" y="726"/>
                  <a:pt x="755" y="726"/>
                </a:cubicBezTo>
                <a:cubicBezTo>
                  <a:pt x="715" y="726"/>
                  <a:pt x="715" y="726"/>
                  <a:pt x="715" y="726"/>
                </a:cubicBezTo>
                <a:cubicBezTo>
                  <a:pt x="696" y="746"/>
                  <a:pt x="696" y="746"/>
                  <a:pt x="696" y="746"/>
                </a:cubicBezTo>
                <a:cubicBezTo>
                  <a:pt x="755" y="746"/>
                  <a:pt x="755" y="746"/>
                  <a:pt x="755" y="746"/>
                </a:cubicBezTo>
                <a:cubicBezTo>
                  <a:pt x="755" y="855"/>
                  <a:pt x="755" y="855"/>
                  <a:pt x="755" y="855"/>
                </a:cubicBezTo>
                <a:cubicBezTo>
                  <a:pt x="659" y="855"/>
                  <a:pt x="659" y="855"/>
                  <a:pt x="659" y="855"/>
                </a:cubicBezTo>
                <a:cubicBezTo>
                  <a:pt x="659" y="783"/>
                  <a:pt x="659" y="783"/>
                  <a:pt x="659" y="783"/>
                </a:cubicBezTo>
                <a:cubicBezTo>
                  <a:pt x="639" y="803"/>
                  <a:pt x="639" y="803"/>
                  <a:pt x="639" y="803"/>
                </a:cubicBezTo>
                <a:cubicBezTo>
                  <a:pt x="639" y="855"/>
                  <a:pt x="639" y="855"/>
                  <a:pt x="639" y="855"/>
                </a:cubicBezTo>
                <a:cubicBezTo>
                  <a:pt x="531" y="855"/>
                  <a:pt x="531" y="855"/>
                  <a:pt x="531" y="855"/>
                </a:cubicBezTo>
                <a:cubicBezTo>
                  <a:pt x="531" y="778"/>
                  <a:pt x="531" y="778"/>
                  <a:pt x="531" y="778"/>
                </a:cubicBezTo>
                <a:cubicBezTo>
                  <a:pt x="511" y="758"/>
                  <a:pt x="511" y="758"/>
                  <a:pt x="511" y="758"/>
                </a:cubicBezTo>
                <a:cubicBezTo>
                  <a:pt x="511" y="855"/>
                  <a:pt x="511" y="855"/>
                  <a:pt x="511" y="855"/>
                </a:cubicBezTo>
                <a:cubicBezTo>
                  <a:pt x="404" y="855"/>
                  <a:pt x="404" y="855"/>
                  <a:pt x="404" y="855"/>
                </a:cubicBezTo>
                <a:cubicBezTo>
                  <a:pt x="404" y="800"/>
                  <a:pt x="404" y="800"/>
                  <a:pt x="404" y="800"/>
                </a:cubicBezTo>
                <a:cubicBezTo>
                  <a:pt x="384" y="820"/>
                  <a:pt x="384" y="820"/>
                  <a:pt x="384" y="820"/>
                </a:cubicBezTo>
                <a:cubicBezTo>
                  <a:pt x="384" y="855"/>
                  <a:pt x="384" y="855"/>
                  <a:pt x="384" y="855"/>
                </a:cubicBezTo>
                <a:cubicBezTo>
                  <a:pt x="349" y="855"/>
                  <a:pt x="349" y="855"/>
                  <a:pt x="349" y="855"/>
                </a:cubicBezTo>
                <a:cubicBezTo>
                  <a:pt x="330" y="874"/>
                  <a:pt x="330" y="874"/>
                  <a:pt x="330" y="874"/>
                </a:cubicBezTo>
                <a:cubicBezTo>
                  <a:pt x="384" y="874"/>
                  <a:pt x="384" y="874"/>
                  <a:pt x="384" y="874"/>
                </a:cubicBezTo>
                <a:cubicBezTo>
                  <a:pt x="384" y="971"/>
                  <a:pt x="384" y="971"/>
                  <a:pt x="384" y="971"/>
                </a:cubicBezTo>
                <a:cubicBezTo>
                  <a:pt x="276" y="971"/>
                  <a:pt x="276" y="971"/>
                  <a:pt x="276" y="971"/>
                </a:cubicBezTo>
                <a:cubicBezTo>
                  <a:pt x="276" y="928"/>
                  <a:pt x="276" y="928"/>
                  <a:pt x="276" y="928"/>
                </a:cubicBezTo>
                <a:cubicBezTo>
                  <a:pt x="256" y="948"/>
                  <a:pt x="256" y="948"/>
                  <a:pt x="256" y="948"/>
                </a:cubicBezTo>
                <a:cubicBezTo>
                  <a:pt x="256" y="991"/>
                  <a:pt x="256" y="991"/>
                  <a:pt x="256" y="991"/>
                </a:cubicBezTo>
                <a:cubicBezTo>
                  <a:pt x="775" y="991"/>
                  <a:pt x="775" y="991"/>
                  <a:pt x="775" y="991"/>
                </a:cubicBezTo>
                <a:cubicBezTo>
                  <a:pt x="775" y="667"/>
                  <a:pt x="775" y="667"/>
                  <a:pt x="775" y="667"/>
                </a:cubicBezTo>
                <a:cubicBezTo>
                  <a:pt x="763" y="678"/>
                  <a:pt x="763" y="678"/>
                  <a:pt x="763" y="678"/>
                </a:cubicBezTo>
                <a:lnTo>
                  <a:pt x="755" y="687"/>
                </a:lnTo>
                <a:close/>
                <a:moveTo>
                  <a:pt x="511" y="971"/>
                </a:moveTo>
                <a:cubicBezTo>
                  <a:pt x="404" y="971"/>
                  <a:pt x="404" y="971"/>
                  <a:pt x="404" y="971"/>
                </a:cubicBezTo>
                <a:cubicBezTo>
                  <a:pt x="404" y="874"/>
                  <a:pt x="404" y="874"/>
                  <a:pt x="404" y="874"/>
                </a:cubicBezTo>
                <a:cubicBezTo>
                  <a:pt x="511" y="874"/>
                  <a:pt x="511" y="874"/>
                  <a:pt x="511" y="874"/>
                </a:cubicBezTo>
                <a:lnTo>
                  <a:pt x="511" y="971"/>
                </a:lnTo>
                <a:close/>
                <a:moveTo>
                  <a:pt x="639" y="971"/>
                </a:moveTo>
                <a:cubicBezTo>
                  <a:pt x="531" y="971"/>
                  <a:pt x="531" y="971"/>
                  <a:pt x="531" y="971"/>
                </a:cubicBezTo>
                <a:cubicBezTo>
                  <a:pt x="531" y="874"/>
                  <a:pt x="531" y="874"/>
                  <a:pt x="531" y="874"/>
                </a:cubicBezTo>
                <a:cubicBezTo>
                  <a:pt x="639" y="874"/>
                  <a:pt x="639" y="874"/>
                  <a:pt x="639" y="874"/>
                </a:cubicBezTo>
                <a:lnTo>
                  <a:pt x="639" y="971"/>
                </a:lnTo>
                <a:close/>
                <a:moveTo>
                  <a:pt x="755" y="971"/>
                </a:moveTo>
                <a:cubicBezTo>
                  <a:pt x="659" y="971"/>
                  <a:pt x="659" y="971"/>
                  <a:pt x="659" y="971"/>
                </a:cubicBezTo>
                <a:cubicBezTo>
                  <a:pt x="659" y="874"/>
                  <a:pt x="659" y="874"/>
                  <a:pt x="659" y="874"/>
                </a:cubicBezTo>
                <a:cubicBezTo>
                  <a:pt x="755" y="874"/>
                  <a:pt x="755" y="874"/>
                  <a:pt x="755" y="874"/>
                </a:cubicBezTo>
                <a:lnTo>
                  <a:pt x="755" y="971"/>
                </a:lnTo>
                <a:close/>
                <a:moveTo>
                  <a:pt x="479" y="726"/>
                </a:moveTo>
                <a:cubicBezTo>
                  <a:pt x="458" y="746"/>
                  <a:pt x="458" y="746"/>
                  <a:pt x="458" y="746"/>
                </a:cubicBezTo>
                <a:cubicBezTo>
                  <a:pt x="458" y="746"/>
                  <a:pt x="458" y="746"/>
                  <a:pt x="495" y="746"/>
                </a:cubicBezTo>
                <a:cubicBezTo>
                  <a:pt x="496" y="746"/>
                  <a:pt x="497" y="745"/>
                  <a:pt x="499" y="745"/>
                </a:cubicBezTo>
                <a:cubicBezTo>
                  <a:pt x="499" y="745"/>
                  <a:pt x="499" y="745"/>
                  <a:pt x="479" y="726"/>
                </a:cubicBezTo>
                <a:close/>
                <a:moveTo>
                  <a:pt x="276" y="746"/>
                </a:moveTo>
                <a:cubicBezTo>
                  <a:pt x="316" y="746"/>
                  <a:pt x="316" y="746"/>
                  <a:pt x="316" y="746"/>
                </a:cubicBezTo>
                <a:cubicBezTo>
                  <a:pt x="335" y="726"/>
                  <a:pt x="335" y="726"/>
                  <a:pt x="335" y="726"/>
                </a:cubicBezTo>
                <a:cubicBezTo>
                  <a:pt x="276" y="726"/>
                  <a:pt x="276" y="726"/>
                  <a:pt x="276" y="726"/>
                </a:cubicBezTo>
                <a:cubicBezTo>
                  <a:pt x="276" y="618"/>
                  <a:pt x="276" y="618"/>
                  <a:pt x="276" y="618"/>
                </a:cubicBezTo>
                <a:cubicBezTo>
                  <a:pt x="384" y="618"/>
                  <a:pt x="384" y="618"/>
                  <a:pt x="384" y="618"/>
                </a:cubicBezTo>
                <a:cubicBezTo>
                  <a:pt x="384" y="677"/>
                  <a:pt x="384" y="677"/>
                  <a:pt x="384" y="677"/>
                </a:cubicBezTo>
                <a:cubicBezTo>
                  <a:pt x="404" y="657"/>
                  <a:pt x="404" y="657"/>
                  <a:pt x="404" y="657"/>
                </a:cubicBezTo>
                <a:cubicBezTo>
                  <a:pt x="404" y="618"/>
                  <a:pt x="404" y="618"/>
                  <a:pt x="404" y="618"/>
                </a:cubicBezTo>
                <a:cubicBezTo>
                  <a:pt x="443" y="618"/>
                  <a:pt x="443" y="618"/>
                  <a:pt x="443" y="618"/>
                </a:cubicBezTo>
                <a:cubicBezTo>
                  <a:pt x="463" y="598"/>
                  <a:pt x="463" y="598"/>
                  <a:pt x="463" y="598"/>
                </a:cubicBezTo>
                <a:cubicBezTo>
                  <a:pt x="404" y="598"/>
                  <a:pt x="404" y="598"/>
                  <a:pt x="404" y="598"/>
                </a:cubicBezTo>
                <a:cubicBezTo>
                  <a:pt x="404" y="490"/>
                  <a:pt x="404" y="490"/>
                  <a:pt x="404" y="490"/>
                </a:cubicBezTo>
                <a:cubicBezTo>
                  <a:pt x="511" y="490"/>
                  <a:pt x="511" y="490"/>
                  <a:pt x="511" y="490"/>
                </a:cubicBezTo>
                <a:cubicBezTo>
                  <a:pt x="511" y="598"/>
                  <a:pt x="511" y="598"/>
                  <a:pt x="511" y="598"/>
                </a:cubicBezTo>
                <a:cubicBezTo>
                  <a:pt x="494" y="598"/>
                  <a:pt x="494" y="598"/>
                  <a:pt x="494" y="598"/>
                </a:cubicBezTo>
                <a:cubicBezTo>
                  <a:pt x="531" y="636"/>
                  <a:pt x="531" y="636"/>
                  <a:pt x="531" y="636"/>
                </a:cubicBezTo>
                <a:cubicBezTo>
                  <a:pt x="531" y="618"/>
                  <a:pt x="531" y="618"/>
                  <a:pt x="531" y="618"/>
                </a:cubicBezTo>
                <a:cubicBezTo>
                  <a:pt x="639" y="618"/>
                  <a:pt x="639" y="618"/>
                  <a:pt x="639" y="618"/>
                </a:cubicBezTo>
                <a:cubicBezTo>
                  <a:pt x="639" y="661"/>
                  <a:pt x="639" y="661"/>
                  <a:pt x="639" y="661"/>
                </a:cubicBezTo>
                <a:cubicBezTo>
                  <a:pt x="659" y="641"/>
                  <a:pt x="659" y="641"/>
                  <a:pt x="659" y="641"/>
                </a:cubicBezTo>
                <a:cubicBezTo>
                  <a:pt x="659" y="618"/>
                  <a:pt x="659" y="618"/>
                  <a:pt x="659" y="618"/>
                </a:cubicBezTo>
                <a:cubicBezTo>
                  <a:pt x="681" y="618"/>
                  <a:pt x="681" y="618"/>
                  <a:pt x="681" y="618"/>
                </a:cubicBezTo>
                <a:cubicBezTo>
                  <a:pt x="701" y="598"/>
                  <a:pt x="701" y="598"/>
                  <a:pt x="701" y="598"/>
                </a:cubicBezTo>
                <a:cubicBezTo>
                  <a:pt x="659" y="598"/>
                  <a:pt x="659" y="598"/>
                  <a:pt x="659" y="598"/>
                </a:cubicBezTo>
                <a:cubicBezTo>
                  <a:pt x="659" y="490"/>
                  <a:pt x="659" y="490"/>
                  <a:pt x="659" y="490"/>
                </a:cubicBezTo>
                <a:cubicBezTo>
                  <a:pt x="755" y="490"/>
                  <a:pt x="755" y="490"/>
                  <a:pt x="755" y="490"/>
                </a:cubicBezTo>
                <a:cubicBezTo>
                  <a:pt x="755" y="545"/>
                  <a:pt x="755" y="545"/>
                  <a:pt x="755" y="545"/>
                </a:cubicBezTo>
                <a:cubicBezTo>
                  <a:pt x="775" y="525"/>
                  <a:pt x="775" y="525"/>
                  <a:pt x="775" y="525"/>
                </a:cubicBezTo>
                <a:cubicBezTo>
                  <a:pt x="775" y="470"/>
                  <a:pt x="775" y="470"/>
                  <a:pt x="775" y="470"/>
                </a:cubicBezTo>
                <a:cubicBezTo>
                  <a:pt x="256" y="470"/>
                  <a:pt x="256" y="470"/>
                  <a:pt x="256" y="470"/>
                </a:cubicBezTo>
                <a:cubicBezTo>
                  <a:pt x="256" y="805"/>
                  <a:pt x="256" y="805"/>
                  <a:pt x="256" y="805"/>
                </a:cubicBezTo>
                <a:cubicBezTo>
                  <a:pt x="276" y="787"/>
                  <a:pt x="276" y="787"/>
                  <a:pt x="276" y="787"/>
                </a:cubicBezTo>
                <a:lnTo>
                  <a:pt x="276" y="746"/>
                </a:lnTo>
                <a:close/>
                <a:moveTo>
                  <a:pt x="531" y="490"/>
                </a:moveTo>
                <a:cubicBezTo>
                  <a:pt x="639" y="490"/>
                  <a:pt x="639" y="490"/>
                  <a:pt x="639" y="490"/>
                </a:cubicBezTo>
                <a:cubicBezTo>
                  <a:pt x="639" y="598"/>
                  <a:pt x="639" y="598"/>
                  <a:pt x="639" y="598"/>
                </a:cubicBezTo>
                <a:cubicBezTo>
                  <a:pt x="531" y="598"/>
                  <a:pt x="531" y="598"/>
                  <a:pt x="531" y="598"/>
                </a:cubicBezTo>
                <a:lnTo>
                  <a:pt x="531" y="490"/>
                </a:lnTo>
                <a:close/>
                <a:moveTo>
                  <a:pt x="276" y="490"/>
                </a:moveTo>
                <a:cubicBezTo>
                  <a:pt x="384" y="490"/>
                  <a:pt x="384" y="490"/>
                  <a:pt x="384" y="490"/>
                </a:cubicBezTo>
                <a:cubicBezTo>
                  <a:pt x="384" y="598"/>
                  <a:pt x="384" y="598"/>
                  <a:pt x="384" y="598"/>
                </a:cubicBezTo>
                <a:cubicBezTo>
                  <a:pt x="276" y="598"/>
                  <a:pt x="276" y="598"/>
                  <a:pt x="276" y="598"/>
                </a:cubicBezTo>
                <a:lnTo>
                  <a:pt x="276" y="490"/>
                </a:lnTo>
                <a:close/>
                <a:moveTo>
                  <a:pt x="256" y="918"/>
                </a:moveTo>
                <a:cubicBezTo>
                  <a:pt x="322" y="853"/>
                  <a:pt x="322" y="853"/>
                  <a:pt x="322" y="853"/>
                </a:cubicBezTo>
                <a:cubicBezTo>
                  <a:pt x="398" y="777"/>
                  <a:pt x="398" y="777"/>
                  <a:pt x="398" y="777"/>
                </a:cubicBezTo>
                <a:cubicBezTo>
                  <a:pt x="471" y="704"/>
                  <a:pt x="471" y="704"/>
                  <a:pt x="471" y="704"/>
                </a:cubicBezTo>
                <a:cubicBezTo>
                  <a:pt x="478" y="697"/>
                  <a:pt x="478" y="697"/>
                  <a:pt x="478" y="697"/>
                </a:cubicBezTo>
                <a:cubicBezTo>
                  <a:pt x="485" y="704"/>
                  <a:pt x="485" y="704"/>
                  <a:pt x="485" y="704"/>
                </a:cubicBezTo>
                <a:cubicBezTo>
                  <a:pt x="507" y="726"/>
                  <a:pt x="507" y="726"/>
                  <a:pt x="507" y="726"/>
                </a:cubicBezTo>
                <a:cubicBezTo>
                  <a:pt x="517" y="735"/>
                  <a:pt x="517" y="735"/>
                  <a:pt x="517" y="735"/>
                </a:cubicBezTo>
                <a:cubicBezTo>
                  <a:pt x="531" y="749"/>
                  <a:pt x="531" y="749"/>
                  <a:pt x="531" y="749"/>
                </a:cubicBezTo>
                <a:cubicBezTo>
                  <a:pt x="598" y="816"/>
                  <a:pt x="598" y="816"/>
                  <a:pt x="598" y="816"/>
                </a:cubicBezTo>
                <a:cubicBezTo>
                  <a:pt x="639" y="774"/>
                  <a:pt x="639" y="774"/>
                  <a:pt x="639" y="774"/>
                </a:cubicBezTo>
                <a:cubicBezTo>
                  <a:pt x="659" y="755"/>
                  <a:pt x="659" y="755"/>
                  <a:pt x="659" y="755"/>
                </a:cubicBezTo>
                <a:cubicBezTo>
                  <a:pt x="668" y="745"/>
                  <a:pt x="668" y="745"/>
                  <a:pt x="668" y="745"/>
                </a:cubicBezTo>
                <a:cubicBezTo>
                  <a:pt x="688" y="726"/>
                  <a:pt x="688" y="726"/>
                  <a:pt x="688" y="726"/>
                </a:cubicBezTo>
                <a:cubicBezTo>
                  <a:pt x="736" y="678"/>
                  <a:pt x="736" y="678"/>
                  <a:pt x="736" y="678"/>
                </a:cubicBezTo>
                <a:cubicBezTo>
                  <a:pt x="755" y="659"/>
                  <a:pt x="755" y="659"/>
                  <a:pt x="755" y="659"/>
                </a:cubicBezTo>
                <a:cubicBezTo>
                  <a:pt x="775" y="639"/>
                  <a:pt x="775" y="639"/>
                  <a:pt x="775" y="639"/>
                </a:cubicBezTo>
                <a:cubicBezTo>
                  <a:pt x="858" y="556"/>
                  <a:pt x="858" y="556"/>
                  <a:pt x="858" y="556"/>
                </a:cubicBezTo>
                <a:cubicBezTo>
                  <a:pt x="815" y="513"/>
                  <a:pt x="815" y="513"/>
                  <a:pt x="815" y="513"/>
                </a:cubicBezTo>
                <a:cubicBezTo>
                  <a:pt x="775" y="553"/>
                  <a:pt x="775" y="553"/>
                  <a:pt x="775" y="553"/>
                </a:cubicBezTo>
                <a:cubicBezTo>
                  <a:pt x="755" y="573"/>
                  <a:pt x="755" y="573"/>
                  <a:pt x="755" y="573"/>
                </a:cubicBezTo>
                <a:cubicBezTo>
                  <a:pt x="730" y="599"/>
                  <a:pt x="730" y="599"/>
                  <a:pt x="730" y="599"/>
                </a:cubicBezTo>
                <a:cubicBezTo>
                  <a:pt x="710" y="618"/>
                  <a:pt x="710" y="618"/>
                  <a:pt x="710" y="618"/>
                </a:cubicBezTo>
                <a:cubicBezTo>
                  <a:pt x="659" y="669"/>
                  <a:pt x="659" y="669"/>
                  <a:pt x="659" y="669"/>
                </a:cubicBezTo>
                <a:cubicBezTo>
                  <a:pt x="639" y="689"/>
                  <a:pt x="639" y="689"/>
                  <a:pt x="639" y="689"/>
                </a:cubicBezTo>
                <a:cubicBezTo>
                  <a:pt x="639" y="689"/>
                  <a:pt x="639" y="689"/>
                  <a:pt x="639" y="689"/>
                </a:cubicBezTo>
                <a:cubicBezTo>
                  <a:pt x="605" y="723"/>
                  <a:pt x="605" y="723"/>
                  <a:pt x="605" y="723"/>
                </a:cubicBezTo>
                <a:cubicBezTo>
                  <a:pt x="602" y="726"/>
                  <a:pt x="602" y="726"/>
                  <a:pt x="602" y="726"/>
                </a:cubicBezTo>
                <a:cubicBezTo>
                  <a:pt x="598" y="730"/>
                  <a:pt x="598" y="730"/>
                  <a:pt x="598" y="730"/>
                </a:cubicBezTo>
                <a:cubicBezTo>
                  <a:pt x="593" y="726"/>
                  <a:pt x="593" y="726"/>
                  <a:pt x="593" y="726"/>
                </a:cubicBezTo>
                <a:cubicBezTo>
                  <a:pt x="591" y="723"/>
                  <a:pt x="591" y="723"/>
                  <a:pt x="591" y="723"/>
                </a:cubicBezTo>
                <a:cubicBezTo>
                  <a:pt x="576" y="709"/>
                  <a:pt x="576" y="709"/>
                  <a:pt x="576" y="709"/>
                </a:cubicBezTo>
                <a:cubicBezTo>
                  <a:pt x="531" y="664"/>
                  <a:pt x="531" y="664"/>
                  <a:pt x="531" y="664"/>
                </a:cubicBezTo>
                <a:cubicBezTo>
                  <a:pt x="478" y="611"/>
                  <a:pt x="478" y="611"/>
                  <a:pt x="478" y="611"/>
                </a:cubicBezTo>
                <a:cubicBezTo>
                  <a:pt x="363" y="726"/>
                  <a:pt x="363" y="726"/>
                  <a:pt x="363" y="726"/>
                </a:cubicBezTo>
                <a:cubicBezTo>
                  <a:pt x="343" y="745"/>
                  <a:pt x="343" y="745"/>
                  <a:pt x="343" y="745"/>
                </a:cubicBezTo>
                <a:cubicBezTo>
                  <a:pt x="302" y="786"/>
                  <a:pt x="302" y="786"/>
                  <a:pt x="302" y="786"/>
                </a:cubicBezTo>
                <a:cubicBezTo>
                  <a:pt x="276" y="813"/>
                  <a:pt x="276" y="813"/>
                  <a:pt x="276" y="813"/>
                </a:cubicBezTo>
                <a:cubicBezTo>
                  <a:pt x="256" y="832"/>
                  <a:pt x="256" y="832"/>
                  <a:pt x="256" y="832"/>
                </a:cubicBezTo>
                <a:cubicBezTo>
                  <a:pt x="191" y="898"/>
                  <a:pt x="191" y="898"/>
                  <a:pt x="191" y="898"/>
                </a:cubicBezTo>
                <a:cubicBezTo>
                  <a:pt x="234" y="941"/>
                  <a:pt x="234" y="941"/>
                  <a:pt x="234" y="941"/>
                </a:cubicBezTo>
                <a:lnTo>
                  <a:pt x="256" y="918"/>
                </a:lnTo>
                <a:close/>
                <a:moveTo>
                  <a:pt x="1295" y="951"/>
                </a:moveTo>
                <a:cubicBezTo>
                  <a:pt x="1112" y="951"/>
                  <a:pt x="1112" y="951"/>
                  <a:pt x="1112" y="951"/>
                </a:cubicBezTo>
                <a:cubicBezTo>
                  <a:pt x="1112" y="1576"/>
                  <a:pt x="1112" y="1576"/>
                  <a:pt x="1112" y="1576"/>
                </a:cubicBezTo>
                <a:cubicBezTo>
                  <a:pt x="1295" y="1576"/>
                  <a:pt x="1295" y="1576"/>
                  <a:pt x="1295" y="1576"/>
                </a:cubicBezTo>
                <a:lnTo>
                  <a:pt x="1295" y="951"/>
                </a:lnTo>
                <a:close/>
                <a:moveTo>
                  <a:pt x="2028" y="848"/>
                </a:moveTo>
                <a:cubicBezTo>
                  <a:pt x="1848" y="848"/>
                  <a:pt x="1848" y="848"/>
                  <a:pt x="1848" y="848"/>
                </a:cubicBezTo>
                <a:cubicBezTo>
                  <a:pt x="1848" y="1576"/>
                  <a:pt x="1848" y="1576"/>
                  <a:pt x="1848" y="1576"/>
                </a:cubicBezTo>
                <a:cubicBezTo>
                  <a:pt x="2028" y="1576"/>
                  <a:pt x="2028" y="1576"/>
                  <a:pt x="2028" y="1576"/>
                </a:cubicBezTo>
                <a:lnTo>
                  <a:pt x="2028" y="848"/>
                </a:lnTo>
                <a:close/>
                <a:moveTo>
                  <a:pt x="1779" y="1403"/>
                </a:moveTo>
                <a:cubicBezTo>
                  <a:pt x="1595" y="1403"/>
                  <a:pt x="1595" y="1403"/>
                  <a:pt x="1595" y="1403"/>
                </a:cubicBezTo>
                <a:cubicBezTo>
                  <a:pt x="1595" y="1576"/>
                  <a:pt x="1595" y="1576"/>
                  <a:pt x="1595" y="1576"/>
                </a:cubicBezTo>
                <a:cubicBezTo>
                  <a:pt x="1779" y="1576"/>
                  <a:pt x="1779" y="1576"/>
                  <a:pt x="1779" y="1576"/>
                </a:cubicBezTo>
                <a:lnTo>
                  <a:pt x="1779" y="1403"/>
                </a:lnTo>
                <a:close/>
                <a:moveTo>
                  <a:pt x="1537" y="1065"/>
                </a:moveTo>
                <a:cubicBezTo>
                  <a:pt x="1354" y="1065"/>
                  <a:pt x="1354" y="1065"/>
                  <a:pt x="1354" y="1065"/>
                </a:cubicBezTo>
                <a:cubicBezTo>
                  <a:pt x="1354" y="1576"/>
                  <a:pt x="1354" y="1576"/>
                  <a:pt x="1354" y="1576"/>
                </a:cubicBezTo>
                <a:cubicBezTo>
                  <a:pt x="1537" y="1576"/>
                  <a:pt x="1537" y="1576"/>
                  <a:pt x="1537" y="1576"/>
                </a:cubicBezTo>
                <a:lnTo>
                  <a:pt x="1537" y="1065"/>
                </a:lnTo>
                <a:close/>
              </a:path>
            </a:pathLst>
          </a:custGeom>
          <a:solidFill>
            <a:schemeClr val="tx2"/>
          </a:solidFill>
          <a:ln>
            <a:noFill/>
          </a:ln>
        </p:spPr>
        <p:txBody>
          <a:bodyPr vert="horz" wrap="square" lIns="91362" tIns="45682" rIns="91362" bIns="45682" numCol="1" anchor="t" anchorCtr="0" compatLnSpc="1">
            <a:prstTxWarp prst="textNoShape">
              <a:avLst/>
            </a:prstTxWarp>
          </a:bodyPr>
          <a:lstStyle/>
          <a:p>
            <a:pPr defTabSz="913347">
              <a:defRPr/>
            </a:pPr>
            <a:endParaRPr lang="en-US" sz="980" b="1" kern="0" dirty="0">
              <a:solidFill>
                <a:srgbClr val="FFFFFF"/>
              </a:solidFill>
              <a:latin typeface="Segoe UI"/>
            </a:endParaRPr>
          </a:p>
        </p:txBody>
      </p:sp>
      <p:sp>
        <p:nvSpPr>
          <p:cNvPr id="297" name="Rectangle 296"/>
          <p:cNvSpPr/>
          <p:nvPr/>
        </p:nvSpPr>
        <p:spPr>
          <a:xfrm>
            <a:off x="10095709" y="4990833"/>
            <a:ext cx="615199" cy="4400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8">
              <a:defRPr/>
            </a:pPr>
            <a:endParaRPr lang="en-US" sz="980" b="1" kern="0">
              <a:solidFill>
                <a:srgbClr val="FFFFFF"/>
              </a:solidFill>
              <a:latin typeface="Segoe UI"/>
            </a:endParaRPr>
          </a:p>
        </p:txBody>
      </p:sp>
      <p:sp>
        <p:nvSpPr>
          <p:cNvPr id="298" name="Line Chart Right 3"/>
          <p:cNvSpPr/>
          <p:nvPr/>
        </p:nvSpPr>
        <p:spPr bwMode="auto">
          <a:xfrm rot="2700000">
            <a:off x="10195132" y="5163848"/>
            <a:ext cx="213270" cy="299761"/>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a:lnSpc>
                <a:spcPct val="90000"/>
              </a:lnSpc>
              <a:defRPr/>
            </a:pPr>
            <a:endParaRPr lang="en-US" sz="980" b="1" kern="0" dirty="0" err="1">
              <a:solidFill>
                <a:srgbClr val="FFFFFF"/>
              </a:solidFill>
              <a:latin typeface="Segoe UI"/>
              <a:ea typeface="Segoe UI" pitchFamily="34" charset="0"/>
              <a:cs typeface="Segoe UI" pitchFamily="34" charset="0"/>
            </a:endParaRPr>
          </a:p>
        </p:txBody>
      </p:sp>
      <p:sp>
        <p:nvSpPr>
          <p:cNvPr id="289" name="TextBox 288"/>
          <p:cNvSpPr txBox="1"/>
          <p:nvPr/>
        </p:nvSpPr>
        <p:spPr>
          <a:xfrm>
            <a:off x="10059689" y="3396175"/>
            <a:ext cx="687240" cy="276832"/>
          </a:xfrm>
          <a:prstGeom prst="rect">
            <a:avLst/>
          </a:prstGeom>
          <a:noFill/>
        </p:spPr>
        <p:txBody>
          <a:bodyPr wrap="square" rtlCol="0">
            <a:spAutoFit/>
          </a:bodyPr>
          <a:lstStyle/>
          <a:p>
            <a:pPr algn="ctr" defTabSz="895698">
              <a:defRPr/>
            </a:pPr>
            <a:r>
              <a:rPr lang="en-US" sz="1175" kern="0" dirty="0">
                <a:gradFill>
                  <a:gsLst>
                    <a:gs pos="88182">
                      <a:srgbClr val="353535"/>
                    </a:gs>
                    <a:gs pos="69000">
                      <a:srgbClr val="353535"/>
                    </a:gs>
                  </a:gsLst>
                  <a:lin ang="5400000" scaled="0"/>
                </a:gradFill>
                <a:latin typeface="Segoe UI Semibold" panose="020B0702040204020203" pitchFamily="34" charset="0"/>
                <a:cs typeface="Segoe UI Semibold" panose="020B0702040204020203" pitchFamily="34" charset="0"/>
              </a:rPr>
              <a:t>Mobile</a:t>
            </a:r>
          </a:p>
        </p:txBody>
      </p:sp>
      <p:sp>
        <p:nvSpPr>
          <p:cNvPr id="294" name="Freeform 9"/>
          <p:cNvSpPr>
            <a:spLocks noChangeAspect="1" noEditPoints="1"/>
          </p:cNvSpPr>
          <p:nvPr/>
        </p:nvSpPr>
        <p:spPr bwMode="black">
          <a:xfrm flipH="1">
            <a:off x="10218599" y="2632540"/>
            <a:ext cx="369432" cy="660855"/>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defRPr/>
            </a:pPr>
            <a:endParaRPr lang="en-US" sz="980" b="1" kern="0" dirty="0">
              <a:solidFill>
                <a:srgbClr val="FFFFFF"/>
              </a:solidFill>
              <a:latin typeface="Segoe UI"/>
              <a:ea typeface="Segoe UI" pitchFamily="34" charset="0"/>
              <a:cs typeface="Segoe UI" pitchFamily="34" charset="0"/>
            </a:endParaRPr>
          </a:p>
        </p:txBody>
      </p:sp>
      <p:sp>
        <p:nvSpPr>
          <p:cNvPr id="292" name="Freeform 33"/>
          <p:cNvSpPr>
            <a:spLocks noChangeAspect="1" noEditPoints="1"/>
          </p:cNvSpPr>
          <p:nvPr/>
        </p:nvSpPr>
        <p:spPr bwMode="black">
          <a:xfrm>
            <a:off x="10289203" y="2891349"/>
            <a:ext cx="228212" cy="162330"/>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tx2"/>
          </a:solidFill>
          <a:ln>
            <a:noFill/>
          </a:ln>
        </p:spPr>
        <p:txBody>
          <a:bodyPr vert="horz" wrap="square" lIns="91388" tIns="45694" rIns="91388" bIns="45694" numCol="1" anchor="t" anchorCtr="0" compatLnSpc="1">
            <a:prstTxWarp prst="textNoShape">
              <a:avLst/>
            </a:prstTxWarp>
          </a:bodyPr>
          <a:lstStyle/>
          <a:p>
            <a:pPr defTabSz="931148" fontAlgn="base">
              <a:spcBef>
                <a:spcPct val="0"/>
              </a:spcBef>
              <a:spcAft>
                <a:spcPct val="0"/>
              </a:spcAft>
              <a:defRPr/>
            </a:pPr>
            <a:endParaRPr lang="en-US" sz="980" b="1" kern="0" dirty="0">
              <a:solidFill>
                <a:srgbClr val="FFFFFF"/>
              </a:solidFill>
              <a:latin typeface="Segoe UI"/>
              <a:ea typeface="MS PGothic" charset="0"/>
            </a:endParaRPr>
          </a:p>
        </p:txBody>
      </p:sp>
      <p:cxnSp>
        <p:nvCxnSpPr>
          <p:cNvPr id="306" name="Straight Arrow Connector 305"/>
          <p:cNvCxnSpPr/>
          <p:nvPr/>
        </p:nvCxnSpPr>
        <p:spPr>
          <a:xfrm>
            <a:off x="8889305" y="3041902"/>
            <a:ext cx="63025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37940" y="2330662"/>
            <a:ext cx="1693522" cy="1328383"/>
          </a:xfrm>
          <a:prstGeom prst="rect">
            <a:avLst/>
          </a:prstGeom>
          <a:solidFill>
            <a:schemeClr val="bg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gradFill>
                  <a:gsLst>
                    <a:gs pos="88182">
                      <a:srgbClr val="353535"/>
                    </a:gs>
                    <a:gs pos="69000">
                      <a:srgbClr val="353535"/>
                    </a:gs>
                  </a:gsLst>
                  <a:lin ang="5400000" scaled="0"/>
                </a:gradFill>
              </a:rPr>
              <a:t>Azure </a:t>
            </a:r>
            <a:br>
              <a:rPr lang="en-US" sz="1175" dirty="0">
                <a:gradFill>
                  <a:gsLst>
                    <a:gs pos="88182">
                      <a:srgbClr val="353535"/>
                    </a:gs>
                    <a:gs pos="69000">
                      <a:srgbClr val="353535"/>
                    </a:gs>
                  </a:gsLst>
                  <a:lin ang="5400000" scaled="0"/>
                </a:gradFill>
              </a:rPr>
            </a:br>
            <a:r>
              <a:rPr lang="en-US" sz="1175" dirty="0">
                <a:gradFill>
                  <a:gsLst>
                    <a:gs pos="88182">
                      <a:srgbClr val="353535"/>
                    </a:gs>
                    <a:gs pos="69000">
                      <a:srgbClr val="353535"/>
                    </a:gs>
                  </a:gsLst>
                  <a:lin ang="5400000" scaled="0"/>
                </a:gradFill>
              </a:rPr>
              <a:t>Analysis Services</a:t>
            </a:r>
          </a:p>
        </p:txBody>
      </p:sp>
      <p:pic>
        <p:nvPicPr>
          <p:cNvPr id="105" name="Picture 104"/>
          <p:cNvPicPr>
            <a:picLocks noChangeAspect="1"/>
          </p:cNvPicPr>
          <p:nvPr/>
        </p:nvPicPr>
        <p:blipFill>
          <a:blip r:embed="rId3"/>
          <a:stretch>
            <a:fillRect/>
          </a:stretch>
        </p:blipFill>
        <p:spPr>
          <a:xfrm>
            <a:off x="4109222" y="2521023"/>
            <a:ext cx="620387" cy="481753"/>
          </a:xfrm>
          <a:prstGeom prst="rect">
            <a:avLst/>
          </a:prstGeom>
        </p:spPr>
      </p:pic>
      <p:cxnSp>
        <p:nvCxnSpPr>
          <p:cNvPr id="441" name="Straight Arrow Connector 440"/>
          <p:cNvCxnSpPr/>
          <p:nvPr/>
        </p:nvCxnSpPr>
        <p:spPr>
          <a:xfrm>
            <a:off x="2974553" y="3036322"/>
            <a:ext cx="493685"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cxnSpLocks/>
          </p:cNvCxnSpPr>
          <p:nvPr/>
        </p:nvCxnSpPr>
        <p:spPr>
          <a:xfrm flipV="1">
            <a:off x="2970090" y="3019064"/>
            <a:ext cx="0" cy="1021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flipV="1">
            <a:off x="2969711" y="4434271"/>
            <a:ext cx="0" cy="1052483"/>
          </a:xfrm>
          <a:prstGeom prst="line">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rot="16200000">
            <a:off x="2927399" y="5432415"/>
            <a:ext cx="0" cy="11614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6FD3E4F-3E8A-4B6D-BFE8-CF5E5F171376}"/>
              </a:ext>
            </a:extLst>
          </p:cNvPr>
          <p:cNvGrpSpPr/>
          <p:nvPr/>
        </p:nvGrpSpPr>
        <p:grpSpPr>
          <a:xfrm>
            <a:off x="3537616" y="2330465"/>
            <a:ext cx="1693522" cy="1328383"/>
            <a:chOff x="-3008081" y="3576909"/>
            <a:chExt cx="1693763" cy="1328572"/>
          </a:xfrm>
        </p:grpSpPr>
        <p:sp>
          <p:nvSpPr>
            <p:cNvPr id="108" name="TextBox 107">
              <a:extLst>
                <a:ext uri="{FF2B5EF4-FFF2-40B4-BE49-F238E27FC236}">
                  <a16:creationId xmlns:a16="http://schemas.microsoft.com/office/drawing/2014/main" id="{84452FB6-D8CB-4FC9-B9E3-71A700E72C61}"/>
                </a:ext>
              </a:extLst>
            </p:cNvPr>
            <p:cNvSpPr txBox="1"/>
            <p:nvPr/>
          </p:nvSpPr>
          <p:spPr>
            <a:xfrm>
              <a:off x="-3008081" y="3576909"/>
              <a:ext cx="1693763" cy="1328572"/>
            </a:xfrm>
            <a:prstGeom prst="rect">
              <a:avLst/>
            </a:prstGeom>
            <a:solidFill>
              <a:schemeClr val="tx2"/>
            </a:solidFill>
            <a:ln w="38100">
              <a:solidFill>
                <a:schemeClr val="accent5"/>
              </a:solidFill>
            </a:ln>
          </p:spPr>
          <p:txBody>
            <a:bodyPr wrap="square" bIns="179259" rtlCol="0" anchor="b" anchorCtr="0">
              <a:noAutofit/>
            </a:bodyPr>
            <a:lstStyle>
              <a:defPPr>
                <a:defRPr lang="en-US"/>
              </a:defPPr>
              <a:lvl1pPr marR="0" lvl="0" indent="0" algn="ctr" defTabSz="913873"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88182">
                        <a:schemeClr val="tx1"/>
                      </a:gs>
                      <a:gs pos="69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defTabSz="895698"/>
              <a:r>
                <a:rPr lang="en-US" sz="1175" dirty="0">
                  <a:solidFill>
                    <a:srgbClr val="FFFFFF"/>
                  </a:solidFill>
                </a:rPr>
                <a:t>Azure </a:t>
              </a:r>
              <a:br>
                <a:rPr lang="en-US" sz="1175" dirty="0">
                  <a:solidFill>
                    <a:srgbClr val="FFFFFF"/>
                  </a:solidFill>
                </a:rPr>
              </a:br>
              <a:r>
                <a:rPr lang="en-US" sz="1175" dirty="0">
                  <a:solidFill>
                    <a:srgbClr val="FFFFFF"/>
                  </a:solidFill>
                </a:rPr>
                <a:t>Analysis Services</a:t>
              </a:r>
            </a:p>
          </p:txBody>
        </p:sp>
        <p:pic>
          <p:nvPicPr>
            <p:cNvPr id="109" name="Picture 108">
              <a:extLst>
                <a:ext uri="{FF2B5EF4-FFF2-40B4-BE49-F238E27FC236}">
                  <a16:creationId xmlns:a16="http://schemas.microsoft.com/office/drawing/2014/main" id="{478B139D-9D3C-421F-ADA1-1B7249CB8814}"/>
                </a:ext>
              </a:extLst>
            </p:cNvPr>
            <p:cNvPicPr>
              <a:picLocks noChangeAspect="1"/>
            </p:cNvPicPr>
            <p:nvPr/>
          </p:nvPicPr>
          <p:blipFill>
            <a:blip r:embed="rId3">
              <a:lum bright="70000" contrast="-70000"/>
            </a:blip>
            <a:stretch>
              <a:fillRect/>
            </a:stretch>
          </p:blipFill>
          <p:spPr>
            <a:xfrm>
              <a:off x="-2418377" y="3772005"/>
              <a:ext cx="620475" cy="481821"/>
            </a:xfrm>
            <a:prstGeom prst="rect">
              <a:avLst/>
            </a:prstGeom>
          </p:spPr>
        </p:pic>
      </p:grpSp>
      <p:cxnSp>
        <p:nvCxnSpPr>
          <p:cNvPr id="111" name="Straight Arrow Connector 110">
            <a:extLst>
              <a:ext uri="{FF2B5EF4-FFF2-40B4-BE49-F238E27FC236}">
                <a16:creationId xmlns:a16="http://schemas.microsoft.com/office/drawing/2014/main" id="{EA3B0B50-9391-4609-8B27-10989CDE1233}"/>
              </a:ext>
            </a:extLst>
          </p:cNvPr>
          <p:cNvCxnSpPr/>
          <p:nvPr/>
        </p:nvCxnSpPr>
        <p:spPr>
          <a:xfrm>
            <a:off x="4437614" y="2027209"/>
            <a:ext cx="0" cy="2561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0325AC7-894E-4763-8E97-BEAF9246A737}"/>
              </a:ext>
            </a:extLst>
          </p:cNvPr>
          <p:cNvCxnSpPr>
            <a:cxnSpLocks/>
          </p:cNvCxnSpPr>
          <p:nvPr/>
        </p:nvCxnSpPr>
        <p:spPr>
          <a:xfrm flipV="1">
            <a:off x="6235559" y="6217461"/>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918B8B87-BBC5-4148-870F-45B970D780AF}"/>
              </a:ext>
            </a:extLst>
          </p:cNvPr>
          <p:cNvCxnSpPr>
            <a:cxnSpLocks/>
          </p:cNvCxnSpPr>
          <p:nvPr/>
        </p:nvCxnSpPr>
        <p:spPr>
          <a:xfrm flipV="1">
            <a:off x="4437614" y="6207917"/>
            <a:ext cx="0" cy="2718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4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3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Hybrid Data Integration Pattern 3:</a:t>
            </a:r>
            <a:br>
              <a:rPr lang="en-US" sz="3600" b="1"/>
            </a:br>
            <a:r>
              <a:rPr lang="en-US" sz="2800"/>
              <a:t>Modern Data Warehouse</a:t>
            </a:r>
            <a:endParaRPr lang="en-US" sz="3600"/>
          </a:p>
        </p:txBody>
      </p:sp>
      <p:sp>
        <p:nvSpPr>
          <p:cNvPr id="6" name="Rectangle 5"/>
          <p:cNvSpPr/>
          <p:nvPr/>
        </p:nvSpPr>
        <p:spPr bwMode="auto">
          <a:xfrm>
            <a:off x="2138618" y="3348749"/>
            <a:ext cx="7112747" cy="117030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7" name="TextBox 6"/>
          <p:cNvSpPr txBox="1"/>
          <p:nvPr/>
        </p:nvSpPr>
        <p:spPr>
          <a:xfrm>
            <a:off x="2845112" y="3736177"/>
            <a:ext cx="1350910" cy="704564"/>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Azure Blob Storag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39689" y="3789590"/>
            <a:ext cx="697341" cy="616627"/>
          </a:xfrm>
          <a:prstGeom prst="rect">
            <a:avLst/>
          </a:prstGeom>
        </p:spPr>
      </p:pic>
      <p:sp>
        <p:nvSpPr>
          <p:cNvPr id="9" name="Rectangle 8"/>
          <p:cNvSpPr/>
          <p:nvPr/>
        </p:nvSpPr>
        <p:spPr bwMode="auto">
          <a:xfrm>
            <a:off x="2135293" y="1873437"/>
            <a:ext cx="2101353" cy="1666630"/>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0" name="Rectangle 9"/>
          <p:cNvSpPr/>
          <p:nvPr/>
        </p:nvSpPr>
        <p:spPr>
          <a:xfrm>
            <a:off x="244051" y="2099664"/>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1" name="Rectangle 10"/>
          <p:cNvSpPr/>
          <p:nvPr/>
        </p:nvSpPr>
        <p:spPr>
          <a:xfrm>
            <a:off x="314121" y="217431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2" kern="0">
              <a:solidFill>
                <a:prstClr val="black"/>
              </a:solidFill>
              <a:latin typeface="Segoe UI Semilight"/>
            </a:endParaRPr>
          </a:p>
        </p:txBody>
      </p:sp>
      <p:sp>
        <p:nvSpPr>
          <p:cNvPr id="12" name="Rectangle 11"/>
          <p:cNvSpPr/>
          <p:nvPr/>
        </p:nvSpPr>
        <p:spPr>
          <a:xfrm>
            <a:off x="389371" y="2249953"/>
            <a:ext cx="1189280"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Daily flat files</a:t>
            </a:r>
          </a:p>
        </p:txBody>
      </p:sp>
      <p:cxnSp>
        <p:nvCxnSpPr>
          <p:cNvPr id="14" name="Elbow Connector 119"/>
          <p:cNvCxnSpPr/>
          <p:nvPr/>
        </p:nvCxnSpPr>
        <p:spPr>
          <a:xfrm flipV="1">
            <a:off x="1722601" y="3631342"/>
            <a:ext cx="473428" cy="8624"/>
          </a:xfrm>
          <a:prstGeom prst="bentConnector3">
            <a:avLst>
              <a:gd name="adj1" fmla="val 50000"/>
            </a:avLst>
          </a:prstGeom>
          <a:noFill/>
          <a:ln w="9525" cap="flat" cmpd="sng" algn="ctr">
            <a:solidFill>
              <a:srgbClr val="505050"/>
            </a:solidFill>
            <a:prstDash val="dash"/>
            <a:headEnd type="none"/>
            <a:tailEnd type="triangle"/>
          </a:ln>
          <a:effectLst/>
        </p:spPr>
      </p:cxnSp>
      <p:cxnSp>
        <p:nvCxnSpPr>
          <p:cNvPr id="15" name="Straight Connector 14"/>
          <p:cNvCxnSpPr>
            <a:stCxn id="12" idx="3"/>
          </p:cNvCxnSpPr>
          <p:nvPr/>
        </p:nvCxnSpPr>
        <p:spPr>
          <a:xfrm flipV="1">
            <a:off x="1578652" y="2435286"/>
            <a:ext cx="602151" cy="5910"/>
          </a:xfrm>
          <a:prstGeom prst="line">
            <a:avLst/>
          </a:prstGeom>
          <a:noFill/>
          <a:ln w="9525" cap="flat" cmpd="sng" algn="ctr">
            <a:solidFill>
              <a:srgbClr val="505050"/>
            </a:solidFill>
            <a:prstDash val="dash"/>
            <a:headEnd type="none"/>
            <a:tailEnd type="triangle"/>
          </a:ln>
          <a:effectLst/>
        </p:spPr>
      </p:cxnSp>
      <p:sp>
        <p:nvSpPr>
          <p:cNvPr id="16" name="Rectangle 15"/>
          <p:cNvSpPr/>
          <p:nvPr/>
        </p:nvSpPr>
        <p:spPr bwMode="auto">
          <a:xfrm>
            <a:off x="209028" y="3118572"/>
            <a:ext cx="1505275" cy="1245626"/>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17" name="TextBox 16"/>
          <p:cNvSpPr txBox="1"/>
          <p:nvPr/>
        </p:nvSpPr>
        <p:spPr>
          <a:xfrm>
            <a:off x="237604" y="3569916"/>
            <a:ext cx="1516993" cy="781497"/>
          </a:xfrm>
          <a:prstGeom prst="rect">
            <a:avLst/>
          </a:prstGeom>
          <a:noFill/>
        </p:spPr>
        <p:txBody>
          <a:bodyPr wrap="square" lIns="186494" tIns="149196" rIns="186494" bIns="149196" rtlCol="0">
            <a:spAutoFit/>
          </a:bodyPr>
          <a:lstStyle/>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On Premises </a:t>
            </a:r>
          </a:p>
          <a:p>
            <a:pP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QL/Oracle</a:t>
            </a:r>
          </a:p>
        </p:txBody>
      </p:sp>
      <p:sp>
        <p:nvSpPr>
          <p:cNvPr id="31" name="Rectangle 30"/>
          <p:cNvSpPr/>
          <p:nvPr/>
        </p:nvSpPr>
        <p:spPr>
          <a:xfrm>
            <a:off x="384445" y="3248856"/>
            <a:ext cx="1099551" cy="382485"/>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OLTP DB Tables</a:t>
            </a:r>
          </a:p>
        </p:txBody>
      </p:sp>
      <p:sp>
        <p:nvSpPr>
          <p:cNvPr id="32" name="Rectangle 31"/>
          <p:cNvSpPr/>
          <p:nvPr/>
        </p:nvSpPr>
        <p:spPr bwMode="auto">
          <a:xfrm>
            <a:off x="9522924" y="3348749"/>
            <a:ext cx="1879246" cy="2136292"/>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1" kern="0">
              <a:solidFill>
                <a:srgbClr val="505050"/>
              </a:solidFill>
              <a:latin typeface="Segoe UI Semilight"/>
              <a:ea typeface="Segoe UI" pitchFamily="34" charset="0"/>
              <a:cs typeface="Segoe UI" pitchFamily="34" charset="0"/>
            </a:endParaRPr>
          </a:p>
        </p:txBody>
      </p:sp>
      <p:sp>
        <p:nvSpPr>
          <p:cNvPr id="33" name="TextBox 32"/>
          <p:cNvSpPr txBox="1"/>
          <p:nvPr/>
        </p:nvSpPr>
        <p:spPr>
          <a:xfrm>
            <a:off x="9611369" y="5002064"/>
            <a:ext cx="1683596" cy="499025"/>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1427" b="1" kern="0">
                <a:gradFill>
                  <a:gsLst>
                    <a:gs pos="2917">
                      <a:srgbClr val="505050"/>
                    </a:gs>
                    <a:gs pos="30000">
                      <a:srgbClr val="505050"/>
                    </a:gs>
                  </a:gsLst>
                  <a:lin ang="5400000" scaled="0"/>
                </a:gradFill>
                <a:latin typeface="Segoe UI Semilight"/>
              </a:rPr>
              <a:t>Azure DW</a:t>
            </a:r>
          </a:p>
        </p:txBody>
      </p:sp>
      <p:cxnSp>
        <p:nvCxnSpPr>
          <p:cNvPr id="35" name="Straight Connector 34"/>
          <p:cNvCxnSpPr>
            <a:stCxn id="51" idx="3"/>
          </p:cNvCxnSpPr>
          <p:nvPr/>
        </p:nvCxnSpPr>
        <p:spPr>
          <a:xfrm>
            <a:off x="9091183" y="2759109"/>
            <a:ext cx="1324837" cy="101149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Rectangle 35"/>
          <p:cNvSpPr/>
          <p:nvPr/>
        </p:nvSpPr>
        <p:spPr>
          <a:xfrm>
            <a:off x="9858473" y="3717942"/>
            <a:ext cx="1208145" cy="681051"/>
          </a:xfrm>
          <a:prstGeom prst="rect">
            <a:avLst/>
          </a:prstGeom>
          <a:solidFill>
            <a:srgbClr val="FFFFFF"/>
          </a:solidFill>
          <a:ln w="10795" cap="flat" cmpd="sng" algn="ctr">
            <a:noFill/>
            <a:prstDash val="solid"/>
          </a:ln>
          <a:effectLst/>
        </p:spPr>
        <p:txBody>
          <a:bodyPr rtlCol="0" anchor="ctr"/>
          <a:lstStyle/>
          <a:p>
            <a:pPr algn="ctr" defTabSz="950973">
              <a:defRPr/>
            </a:pPr>
            <a:r>
              <a:rPr lang="en-US" sz="1222" kern="0">
                <a:solidFill>
                  <a:prstClr val="black"/>
                </a:solidFill>
                <a:latin typeface="Segoe UI Semilight"/>
              </a:rPr>
              <a:t>Analytical Schemas</a:t>
            </a:r>
          </a:p>
        </p:txBody>
      </p:sp>
      <p:sp>
        <p:nvSpPr>
          <p:cNvPr id="37" name="Rounded Rectangle 145"/>
          <p:cNvSpPr/>
          <p:nvPr/>
        </p:nvSpPr>
        <p:spPr bwMode="auto">
          <a:xfrm>
            <a:off x="9959475" y="1943009"/>
            <a:ext cx="1819498" cy="948605"/>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TextBox 37"/>
          <p:cNvSpPr txBox="1"/>
          <p:nvPr/>
        </p:nvSpPr>
        <p:spPr>
          <a:xfrm>
            <a:off x="10568190" y="2099664"/>
            <a:ext cx="142427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Power BI (Visualize)</a:t>
            </a:r>
          </a:p>
        </p:txBody>
      </p:sp>
      <p:pic>
        <p:nvPicPr>
          <p:cNvPr id="39" name="Picture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8538" y="2115180"/>
            <a:ext cx="259779" cy="269544"/>
          </a:xfrm>
          <a:prstGeom prst="rect">
            <a:avLst/>
          </a:prstGeom>
        </p:spPr>
      </p:pic>
      <p:cxnSp>
        <p:nvCxnSpPr>
          <p:cNvPr id="40" name="Straight Arrow Connector 39"/>
          <p:cNvCxnSpPr>
            <a:stCxn id="36" idx="0"/>
          </p:cNvCxnSpPr>
          <p:nvPr/>
        </p:nvCxnSpPr>
        <p:spPr>
          <a:xfrm flipV="1">
            <a:off x="10462547" y="2948620"/>
            <a:ext cx="556656" cy="76932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Rectangle 40"/>
          <p:cNvSpPr/>
          <p:nvPr/>
        </p:nvSpPr>
        <p:spPr bwMode="auto">
          <a:xfrm>
            <a:off x="4310720" y="1986866"/>
            <a:ext cx="4905214" cy="1267579"/>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Rectangle 41"/>
          <p:cNvSpPr/>
          <p:nvPr/>
        </p:nvSpPr>
        <p:spPr>
          <a:xfrm>
            <a:off x="7705266" y="3587942"/>
            <a:ext cx="1266115"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AML: Churn Model</a:t>
            </a:r>
          </a:p>
        </p:txBody>
      </p:sp>
      <p:sp>
        <p:nvSpPr>
          <p:cNvPr id="43" name="Rounded Rectangle 179"/>
          <p:cNvSpPr/>
          <p:nvPr/>
        </p:nvSpPr>
        <p:spPr bwMode="auto">
          <a:xfrm>
            <a:off x="6532122" y="2057595"/>
            <a:ext cx="1380078"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4" name="Picture 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49034" y="2174646"/>
            <a:ext cx="264913" cy="313524"/>
          </a:xfrm>
          <a:prstGeom prst="rect">
            <a:avLst/>
          </a:prstGeom>
        </p:spPr>
      </p:pic>
      <p:sp>
        <p:nvSpPr>
          <p:cNvPr id="45" name="Rectangle 44"/>
          <p:cNvSpPr/>
          <p:nvPr/>
        </p:nvSpPr>
        <p:spPr>
          <a:xfrm>
            <a:off x="5973948" y="3573621"/>
            <a:ext cx="1549582" cy="84789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Customer Call Details</a:t>
            </a:r>
          </a:p>
        </p:txBody>
      </p:sp>
      <p:cxnSp>
        <p:nvCxnSpPr>
          <p:cNvPr id="46" name="Straight Connector 45"/>
          <p:cNvCxnSpPr>
            <a:stCxn id="53" idx="2"/>
            <a:endCxn id="45" idx="0"/>
          </p:cNvCxnSpPr>
          <p:nvPr/>
        </p:nvCxnSpPr>
        <p:spPr>
          <a:xfrm>
            <a:off x="5419077" y="3194019"/>
            <a:ext cx="1329662" cy="379602"/>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p:cNvSpPr txBox="1"/>
          <p:nvPr/>
        </p:nvSpPr>
        <p:spPr>
          <a:xfrm>
            <a:off x="6687140" y="2490290"/>
            <a:ext cx="1202052"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Analyze </a:t>
            </a:r>
          </a:p>
        </p:txBody>
      </p:sp>
      <p:cxnSp>
        <p:nvCxnSpPr>
          <p:cNvPr id="48" name="Straight Arrow Connector 47"/>
          <p:cNvCxnSpPr>
            <a:stCxn id="45" idx="0"/>
            <a:endCxn id="43" idx="2"/>
          </p:cNvCxnSpPr>
          <p:nvPr/>
        </p:nvCxnSpPr>
        <p:spPr>
          <a:xfrm flipV="1">
            <a:off x="6748739" y="3194019"/>
            <a:ext cx="473421" cy="379602"/>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p:cNvCxnSpPr>
            <a:stCxn id="43" idx="2"/>
            <a:endCxn id="42" idx="0"/>
          </p:cNvCxnSpPr>
          <p:nvPr/>
        </p:nvCxnSpPr>
        <p:spPr>
          <a:xfrm>
            <a:off x="7222161" y="3194020"/>
            <a:ext cx="1116163" cy="393923"/>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0" name="Rounded Rectangle 186"/>
          <p:cNvSpPr/>
          <p:nvPr/>
        </p:nvSpPr>
        <p:spPr bwMode="auto">
          <a:xfrm>
            <a:off x="8000668" y="2057595"/>
            <a:ext cx="1127442"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TextBox 50"/>
          <p:cNvSpPr txBox="1"/>
          <p:nvPr/>
        </p:nvSpPr>
        <p:spPr>
          <a:xfrm>
            <a:off x="8191081" y="2514461"/>
            <a:ext cx="900101" cy="48929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Move</a:t>
            </a:r>
          </a:p>
        </p:txBody>
      </p:sp>
      <p:cxnSp>
        <p:nvCxnSpPr>
          <p:cNvPr id="52" name="Straight Arrow Connector 51"/>
          <p:cNvCxnSpPr>
            <a:stCxn id="42" idx="0"/>
            <a:endCxn id="50" idx="2"/>
          </p:cNvCxnSpPr>
          <p:nvPr/>
        </p:nvCxnSpPr>
        <p:spPr>
          <a:xfrm flipV="1">
            <a:off x="8338323" y="3194020"/>
            <a:ext cx="226066" cy="393923"/>
          </a:xfrm>
          <a:prstGeom prst="straightConnector1">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Rounded Rectangle 176"/>
          <p:cNvSpPr/>
          <p:nvPr/>
        </p:nvSpPr>
        <p:spPr bwMode="auto">
          <a:xfrm>
            <a:off x="4393859" y="2057595"/>
            <a:ext cx="2050439" cy="1136424"/>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16622" y="2127781"/>
            <a:ext cx="344111" cy="407256"/>
          </a:xfrm>
          <a:prstGeom prst="rect">
            <a:avLst/>
          </a:prstGeom>
        </p:spPr>
      </p:pic>
      <p:sp>
        <p:nvSpPr>
          <p:cNvPr id="55" name="TextBox 54"/>
          <p:cNvSpPr txBox="1"/>
          <p:nvPr/>
        </p:nvSpPr>
        <p:spPr>
          <a:xfrm>
            <a:off x="4934807" y="2127782"/>
            <a:ext cx="1401691" cy="69086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kern="0">
                <a:gradFill>
                  <a:gsLst>
                    <a:gs pos="2917">
                      <a:srgbClr val="505050"/>
                    </a:gs>
                    <a:gs pos="30000">
                      <a:srgbClr val="505050"/>
                    </a:gs>
                  </a:gsLst>
                  <a:lin ang="5400000" scaled="0"/>
                </a:gradFill>
                <a:latin typeface="Segoe UI Semilight"/>
              </a:rPr>
              <a:t>Transform, Combine, etc</a:t>
            </a:r>
          </a:p>
        </p:txBody>
      </p:sp>
      <p:pic>
        <p:nvPicPr>
          <p:cNvPr id="58" name="Picture 5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93286" y="2175691"/>
            <a:ext cx="256293" cy="303322"/>
          </a:xfrm>
          <a:prstGeom prst="rect">
            <a:avLst/>
          </a:prstGeom>
        </p:spPr>
      </p:pic>
      <p:pic>
        <p:nvPicPr>
          <p:cNvPr id="65" name="Picture 2" descr="Image result for azure sql data warehous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858473" y="4364198"/>
            <a:ext cx="1208146" cy="64954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a:blip r:embed="rId9"/>
          <a:stretch>
            <a:fillRect/>
          </a:stretch>
        </p:blipFill>
        <p:spPr>
          <a:xfrm>
            <a:off x="5257169" y="4547406"/>
            <a:ext cx="628230" cy="628230"/>
          </a:xfrm>
          <a:prstGeom prst="rect">
            <a:avLst/>
          </a:prstGeom>
        </p:spPr>
      </p:pic>
      <p:sp>
        <p:nvSpPr>
          <p:cNvPr id="69" name="TextBox 26"/>
          <p:cNvSpPr txBox="1">
            <a:spLocks noChangeArrowheads="1"/>
          </p:cNvSpPr>
          <p:nvPr/>
        </p:nvSpPr>
        <p:spPr bwMode="auto">
          <a:xfrm>
            <a:off x="2125441" y="5141472"/>
            <a:ext cx="7181613" cy="264972"/>
          </a:xfrm>
          <a:prstGeom prst="rect">
            <a:avLst/>
          </a:prstGeom>
          <a:solidFill>
            <a:schemeClr val="accent5"/>
          </a:solidFill>
          <a:ln>
            <a:noFill/>
          </a:ln>
          <a:extLst/>
        </p:spPr>
        <p:style>
          <a:lnRef idx="0">
            <a:scrgbClr r="0" g="0" b="0"/>
          </a:lnRef>
          <a:fillRef idx="0">
            <a:scrgbClr r="0" g="0" b="0"/>
          </a:fillRef>
          <a:effectRef idx="0">
            <a:scrgbClr r="0" g="0" b="0"/>
          </a:effectRef>
          <a:fontRef idx="minor">
            <a:schemeClr val="lt1"/>
          </a:fontRef>
        </p:style>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367">
              <a:lnSpc>
                <a:spcPct val="100000"/>
              </a:lnSpc>
              <a:spcBef>
                <a:spcPct val="0"/>
              </a:spcBef>
              <a:buNone/>
            </a:pPr>
            <a:r>
              <a:rPr lang="en-US" altLang="en-US" sz="1100" b="1">
                <a:solidFill>
                  <a:srgbClr val="FFFFFF"/>
                </a:solidFill>
                <a:latin typeface="Segoe UI" panose="020B0502040204020203" pitchFamily="34" charset="0"/>
                <a:cs typeface="Segoe UI" panose="020B0502040204020203" pitchFamily="34" charset="0"/>
              </a:rPr>
              <a:t>Azure Data Factory (PaaS)</a:t>
            </a:r>
          </a:p>
        </p:txBody>
      </p:sp>
      <p:pic>
        <p:nvPicPr>
          <p:cNvPr id="2054" name="Picture 6" descr="https://spark.apache.org/images/spark-logo-trademark.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494483" y="2723829"/>
            <a:ext cx="664343" cy="353374"/>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2408388" y="2036000"/>
            <a:ext cx="1676265" cy="1463318"/>
          </a:xfrm>
          <a:prstGeom prst="rect">
            <a:avLst/>
          </a:prstGeom>
          <a:noFill/>
        </p:spPr>
        <p:txBody>
          <a:bodyPr wrap="square" lIns="186494" tIns="149196" rIns="186494" bIns="149196" rtlCol="0">
            <a:spAutoFit/>
          </a:bodyPr>
          <a:lstStyle/>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Schedul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onitoring</a:t>
            </a:r>
          </a:p>
          <a:p>
            <a:pPr algn="r" defTabSz="914225">
              <a:lnSpc>
                <a:spcPct val="90000"/>
              </a:lnSpc>
              <a:spcAft>
                <a:spcPts val="612"/>
              </a:spcAft>
              <a:defRPr/>
            </a:pPr>
            <a:r>
              <a:rPr lang="en-US" sz="1427" kern="0">
                <a:gradFill>
                  <a:gsLst>
                    <a:gs pos="2917">
                      <a:srgbClr val="505050"/>
                    </a:gs>
                    <a:gs pos="30000">
                      <a:srgbClr val="505050"/>
                    </a:gs>
                  </a:gsLst>
                  <a:lin ang="5400000" scaled="0"/>
                </a:gradFill>
                <a:latin typeface="Segoe UI Semilight"/>
              </a:rPr>
              <a:t>Pipeline / Job Management</a:t>
            </a:r>
          </a:p>
        </p:txBody>
      </p:sp>
      <p:pic>
        <p:nvPicPr>
          <p:cNvPr id="2058" name="Picture 10" descr="Related image"/>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46942" y="2136991"/>
            <a:ext cx="398045" cy="39804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line chart icon"/>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310760" y="2924332"/>
            <a:ext cx="343683" cy="343683"/>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p:cNvSpPr/>
          <p:nvPr/>
        </p:nvSpPr>
        <p:spPr>
          <a:xfrm>
            <a:off x="4236647" y="3587942"/>
            <a:ext cx="1540963" cy="82895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2" kern="0">
                <a:solidFill>
                  <a:prstClr val="black"/>
                </a:solidFill>
                <a:latin typeface="Segoe UI Semilight"/>
              </a:rPr>
              <a:t>Social Media (un/semi structured)</a:t>
            </a:r>
          </a:p>
        </p:txBody>
      </p:sp>
      <p:cxnSp>
        <p:nvCxnSpPr>
          <p:cNvPr id="105" name="Straight Connector 104"/>
          <p:cNvCxnSpPr>
            <a:endCxn id="53" idx="2"/>
          </p:cNvCxnSpPr>
          <p:nvPr/>
        </p:nvCxnSpPr>
        <p:spPr>
          <a:xfrm flipV="1">
            <a:off x="5009494" y="3194020"/>
            <a:ext cx="409585" cy="397257"/>
          </a:xfrm>
          <a:prstGeom prst="line">
            <a:avLst/>
          </a:prstGeom>
          <a:ln w="19050" cap="flat" cmpd="sng" algn="ctr">
            <a:solidFill>
              <a:schemeClr val="bg2">
                <a:lumMod val="1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TextBox 55"/>
          <p:cNvSpPr txBox="1"/>
          <p:nvPr/>
        </p:nvSpPr>
        <p:spPr>
          <a:xfrm>
            <a:off x="4910712" y="2767658"/>
            <a:ext cx="1186268" cy="437084"/>
          </a:xfrm>
          <a:prstGeom prst="rect">
            <a:avLst/>
          </a:prstGeom>
          <a:noFill/>
        </p:spPr>
        <p:txBody>
          <a:bodyPr wrap="square" lIns="186494" tIns="149196" rIns="186494" bIns="149196" rtlCol="0">
            <a:spAutoFit/>
          </a:bodyPr>
          <a:lstStyle/>
          <a:p>
            <a:pPr algn="ctr" defTabSz="914225">
              <a:lnSpc>
                <a:spcPct val="90000"/>
              </a:lnSpc>
              <a:spcAft>
                <a:spcPts val="612"/>
              </a:spcAft>
              <a:defRPr/>
            </a:pPr>
            <a:r>
              <a:rPr lang="en-US" sz="980" kern="0">
                <a:gradFill>
                  <a:gsLst>
                    <a:gs pos="2917">
                      <a:srgbClr val="505050"/>
                    </a:gs>
                    <a:gs pos="30000">
                      <a:srgbClr val="505050"/>
                    </a:gs>
                  </a:gsLst>
                  <a:lin ang="5400000" scaled="0"/>
                </a:gradFill>
                <a:latin typeface="Segoe UI Semilight"/>
              </a:rPr>
              <a:t>On Demand</a:t>
            </a:r>
          </a:p>
        </p:txBody>
      </p:sp>
    </p:spTree>
    <p:extLst>
      <p:ext uri="{BB962C8B-B14F-4D97-AF65-F5344CB8AC3E}">
        <p14:creationId xmlns:p14="http://schemas.microsoft.com/office/powerpoint/2010/main" val="349203615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t>ADFv2: Control Flow</a:t>
            </a:r>
          </a:p>
        </p:txBody>
      </p:sp>
      <p:sp>
        <p:nvSpPr>
          <p:cNvPr id="3" name="Text Placeholder 2"/>
          <p:cNvSpPr>
            <a:spLocks noGrp="1"/>
          </p:cNvSpPr>
          <p:nvPr>
            <p:ph type="body" sz="quarter" idx="10"/>
          </p:nvPr>
        </p:nvSpPr>
        <p:spPr>
          <a:xfrm>
            <a:off x="269303" y="1187963"/>
            <a:ext cx="11655078" cy="1786220"/>
          </a:xfrm>
        </p:spPr>
        <p:txBody>
          <a:bodyPr/>
          <a:lstStyle/>
          <a:p>
            <a:pPr marL="0" indent="0" algn="ctr">
              <a:buNone/>
            </a:pPr>
            <a:r>
              <a:rPr lang="en-US" sz="2745"/>
              <a:t>Coordinate pipeline activities into finite execution steps to enable looping, conditionals and chaining while separating data transformations into individual data flows </a:t>
            </a:r>
          </a:p>
          <a:p>
            <a:pPr marL="0" indent="0" algn="ctr">
              <a:buNone/>
            </a:pPr>
            <a:endParaRPr lang="en-US" sz="2745"/>
          </a:p>
        </p:txBody>
      </p:sp>
      <p:sp>
        <p:nvSpPr>
          <p:cNvPr id="79" name="Rectangle 78"/>
          <p:cNvSpPr/>
          <p:nvPr/>
        </p:nvSpPr>
        <p:spPr>
          <a:xfrm>
            <a:off x="1763280" y="3253384"/>
            <a:ext cx="6970601" cy="257983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81" name="Straight Arrow Connector 80"/>
          <p:cNvCxnSpPr>
            <a:endCxn id="82" idx="1"/>
          </p:cNvCxnSpPr>
          <p:nvPr/>
        </p:nvCxnSpPr>
        <p:spPr>
          <a:xfrm>
            <a:off x="1430641" y="4124997"/>
            <a:ext cx="1550843" cy="0"/>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2981484"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1</a:t>
            </a:r>
            <a:endParaRPr lang="en-US" sz="1568">
              <a:solidFill>
                <a:srgbClr val="FFFFFF"/>
              </a:solidFill>
              <a:latin typeface="Segoe UI Semilight"/>
            </a:endParaRPr>
          </a:p>
        </p:txBody>
      </p:sp>
      <p:sp>
        <p:nvSpPr>
          <p:cNvPr id="83" name="Rectangle 82"/>
          <p:cNvSpPr/>
          <p:nvPr/>
        </p:nvSpPr>
        <p:spPr>
          <a:xfrm>
            <a:off x="5125289" y="3755535"/>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Activity 2</a:t>
            </a:r>
          </a:p>
        </p:txBody>
      </p:sp>
      <p:cxnSp>
        <p:nvCxnSpPr>
          <p:cNvPr id="84" name="Straight Arrow Connector 83"/>
          <p:cNvCxnSpPr/>
          <p:nvPr/>
        </p:nvCxnSpPr>
        <p:spPr>
          <a:xfrm>
            <a:off x="4132202" y="4167558"/>
            <a:ext cx="993088" cy="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6276008" y="4167557"/>
            <a:ext cx="630302"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7025292" y="3677174"/>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3</a:t>
            </a:r>
            <a:endParaRPr lang="en-US" sz="1200">
              <a:solidFill>
                <a:srgbClr val="FFFFFF"/>
              </a:solidFill>
              <a:latin typeface="Segoe UI Semilight"/>
            </a:endParaRPr>
          </a:p>
        </p:txBody>
      </p:sp>
      <p:cxnSp>
        <p:nvCxnSpPr>
          <p:cNvPr id="87" name="Straight Arrow Connector 86"/>
          <p:cNvCxnSpPr>
            <a:endCxn id="88" idx="1"/>
          </p:cNvCxnSpPr>
          <p:nvPr/>
        </p:nvCxnSpPr>
        <p:spPr>
          <a:xfrm>
            <a:off x="4132203" y="4167558"/>
            <a:ext cx="958109" cy="1139681"/>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09031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On Error” Activity 1</a:t>
            </a:r>
          </a:p>
        </p:txBody>
      </p:sp>
      <p:sp>
        <p:nvSpPr>
          <p:cNvPr id="89" name="TextBox 88"/>
          <p:cNvSpPr txBox="1"/>
          <p:nvPr/>
        </p:nvSpPr>
        <p:spPr>
          <a:xfrm>
            <a:off x="4145567" y="3677175"/>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0" name="TextBox 89"/>
          <p:cNvSpPr txBox="1"/>
          <p:nvPr/>
        </p:nvSpPr>
        <p:spPr>
          <a:xfrm>
            <a:off x="4132202" y="4669648"/>
            <a:ext cx="746880" cy="738664"/>
          </a:xfrm>
          <a:prstGeom prst="rect">
            <a:avLst/>
          </a:prstGeom>
          <a:noFill/>
        </p:spPr>
        <p:txBody>
          <a:bodyPr wrap="square" rtlCol="0">
            <a:spAutoFit/>
          </a:bodyPr>
          <a:lstStyle/>
          <a:p>
            <a:pPr defTabSz="914367"/>
            <a:r>
              <a:rPr lang="en-US" sz="1400" i="1">
                <a:solidFill>
                  <a:srgbClr val="353535"/>
                </a:solidFill>
                <a:latin typeface="Segoe UI Semilight"/>
              </a:rPr>
              <a:t>Error,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91" name="TextBox 90"/>
          <p:cNvSpPr txBox="1"/>
          <p:nvPr/>
        </p:nvSpPr>
        <p:spPr>
          <a:xfrm>
            <a:off x="1677426" y="291168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1</a:t>
            </a:r>
          </a:p>
        </p:txBody>
      </p:sp>
      <p:cxnSp>
        <p:nvCxnSpPr>
          <p:cNvPr id="92" name="Straight Arrow Connector 91"/>
          <p:cNvCxnSpPr/>
          <p:nvPr/>
        </p:nvCxnSpPr>
        <p:spPr>
          <a:xfrm flipV="1">
            <a:off x="6241030" y="5307239"/>
            <a:ext cx="657779" cy="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6875691" y="4937778"/>
            <a:ext cx="1150719" cy="73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t>
            </a:r>
            <a:endParaRPr lang="en-US" sz="1200">
              <a:solidFill>
                <a:srgbClr val="FFFFFF"/>
              </a:solidFill>
              <a:latin typeface="Segoe UI Semilight"/>
            </a:endParaRPr>
          </a:p>
        </p:txBody>
      </p:sp>
      <p:sp>
        <p:nvSpPr>
          <p:cNvPr id="94" name="Rectangle 93"/>
          <p:cNvSpPr/>
          <p:nvPr/>
        </p:nvSpPr>
        <p:spPr>
          <a:xfrm>
            <a:off x="9282442" y="3615848"/>
            <a:ext cx="2309845" cy="222787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Semilight"/>
            </a:endParaRPr>
          </a:p>
        </p:txBody>
      </p:sp>
      <p:cxnSp>
        <p:nvCxnSpPr>
          <p:cNvPr id="95" name="Straight Arrow Connector 94"/>
          <p:cNvCxnSpPr>
            <a:stCxn id="97" idx="3"/>
          </p:cNvCxnSpPr>
          <p:nvPr/>
        </p:nvCxnSpPr>
        <p:spPr>
          <a:xfrm>
            <a:off x="8263684" y="3954194"/>
            <a:ext cx="1045556" cy="775592"/>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9235678" y="3322497"/>
            <a:ext cx="1515901" cy="312029"/>
          </a:xfrm>
          <a:prstGeom prst="rect">
            <a:avLst/>
          </a:prstGeom>
          <a:noFill/>
        </p:spPr>
        <p:txBody>
          <a:bodyPr wrap="square" rtlCol="0">
            <a:spAutoFit/>
          </a:bodyPr>
          <a:lstStyle/>
          <a:p>
            <a:pPr defTabSz="914367"/>
            <a:r>
              <a:rPr lang="en-US" sz="1400" i="1">
                <a:solidFill>
                  <a:srgbClr val="353535"/>
                </a:solidFill>
                <a:latin typeface="Segoe UI Semilight"/>
              </a:rPr>
              <a:t>My Pipeline 2</a:t>
            </a:r>
          </a:p>
        </p:txBody>
      </p:sp>
      <p:sp>
        <p:nvSpPr>
          <p:cNvPr id="97" name="Rectangle 96"/>
          <p:cNvSpPr/>
          <p:nvPr/>
        </p:nvSpPr>
        <p:spPr>
          <a:xfrm>
            <a:off x="6906311" y="3322497"/>
            <a:ext cx="1357373" cy="12633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67"/>
            <a:r>
              <a:rPr lang="en-US" sz="1400" b="1">
                <a:solidFill>
                  <a:srgbClr val="FFFFFF">
                    <a:lumMod val="50000"/>
                  </a:srgbClr>
                </a:solidFill>
                <a:latin typeface="Segoe UI Semilight"/>
              </a:rPr>
              <a:t>For Each…</a:t>
            </a:r>
            <a:endParaRPr lang="en-US" sz="1200">
              <a:solidFill>
                <a:srgbClr val="FFFFFF">
                  <a:lumMod val="50000"/>
                </a:srgbClr>
              </a:solidFill>
              <a:latin typeface="Segoe UI Semilight"/>
            </a:endParaRPr>
          </a:p>
        </p:txBody>
      </p:sp>
      <p:sp>
        <p:nvSpPr>
          <p:cNvPr id="98" name="Rectangle 97"/>
          <p:cNvSpPr/>
          <p:nvPr/>
        </p:nvSpPr>
        <p:spPr>
          <a:xfrm>
            <a:off x="7025292" y="4221867"/>
            <a:ext cx="1150719" cy="294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400" b="1">
                <a:solidFill>
                  <a:srgbClr val="FFFFFF"/>
                </a:solidFill>
                <a:latin typeface="Segoe UI Semilight"/>
              </a:rPr>
              <a:t>Activity 4</a:t>
            </a:r>
            <a:endParaRPr lang="en-US" sz="1200">
              <a:solidFill>
                <a:srgbClr val="FFFFFF"/>
              </a:solidFill>
              <a:latin typeface="Segoe UI Semilight"/>
            </a:endParaRPr>
          </a:p>
        </p:txBody>
      </p:sp>
      <p:cxnSp>
        <p:nvCxnSpPr>
          <p:cNvPr id="99" name="Straight Arrow Connector 98"/>
          <p:cNvCxnSpPr>
            <a:stCxn id="86" idx="2"/>
            <a:endCxn id="98" idx="0"/>
          </p:cNvCxnSpPr>
          <p:nvPr/>
        </p:nvCxnSpPr>
        <p:spPr>
          <a:xfrm>
            <a:off x="7600651" y="3972029"/>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824272" y="3644412"/>
            <a:ext cx="1098704" cy="531737"/>
          </a:xfrm>
          <a:prstGeom prst="rect">
            <a:avLst/>
          </a:prstGeom>
          <a:noFill/>
        </p:spPr>
        <p:txBody>
          <a:bodyPr wrap="square" rtlCol="0">
            <a:spAutoFit/>
          </a:bodyPr>
          <a:lstStyle/>
          <a:p>
            <a:pPr defTabSz="914367"/>
            <a:r>
              <a:rPr lang="en-US" sz="1400" i="1">
                <a:solidFill>
                  <a:srgbClr val="353535"/>
                </a:solidFill>
                <a:latin typeface="Segoe UI Semilight"/>
              </a:rPr>
              <a:t>Success, </a:t>
            </a:r>
            <a:r>
              <a:rPr lang="en-US" sz="1400" i="1" err="1">
                <a:solidFill>
                  <a:srgbClr val="353535"/>
                </a:solidFill>
                <a:latin typeface="Segoe UI Semilight"/>
              </a:rPr>
              <a:t>params</a:t>
            </a:r>
            <a:endParaRPr lang="en-US" sz="1400" i="1">
              <a:solidFill>
                <a:srgbClr val="353535"/>
              </a:solidFill>
              <a:latin typeface="Segoe UI Semilight"/>
            </a:endParaRPr>
          </a:p>
        </p:txBody>
      </p:sp>
      <p:sp>
        <p:nvSpPr>
          <p:cNvPr id="25" name="Rectangle 24"/>
          <p:cNvSpPr/>
          <p:nvPr/>
        </p:nvSpPr>
        <p:spPr>
          <a:xfrm>
            <a:off x="262432" y="3477490"/>
            <a:ext cx="1216516" cy="14193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568" b="1">
                <a:solidFill>
                  <a:srgbClr val="FFFFFF"/>
                </a:solidFill>
                <a:latin typeface="Segoe UI Semilight"/>
              </a:rPr>
              <a:t>Trigger</a:t>
            </a:r>
          </a:p>
          <a:p>
            <a:pPr algn="ctr" defTabSz="914367"/>
            <a:endParaRPr lang="en-US" sz="1200" b="1">
              <a:solidFill>
                <a:srgbClr val="FFFFFF"/>
              </a:solidFill>
              <a:latin typeface="Segoe UI Semilight"/>
            </a:endParaRPr>
          </a:p>
          <a:p>
            <a:pPr defTabSz="914367"/>
            <a:endParaRPr lang="en-US" sz="1200">
              <a:solidFill>
                <a:srgbClr val="FFFFFF"/>
              </a:solidFill>
              <a:latin typeface="Segoe UI Semilight"/>
            </a:endParaRPr>
          </a:p>
          <a:p>
            <a:pPr defTabSz="914367"/>
            <a:r>
              <a:rPr lang="en-US" sz="1200">
                <a:solidFill>
                  <a:srgbClr val="FFFFFF"/>
                </a:solidFill>
                <a:latin typeface="Segoe UI Semilight"/>
              </a:rPr>
              <a:t>Event</a:t>
            </a:r>
          </a:p>
          <a:p>
            <a:pPr defTabSz="914367"/>
            <a:r>
              <a:rPr lang="en-US" sz="1200">
                <a:solidFill>
                  <a:srgbClr val="FFFFFF"/>
                </a:solidFill>
                <a:latin typeface="Segoe UI Semilight"/>
              </a:rPr>
              <a:t>Wall Clock</a:t>
            </a:r>
          </a:p>
          <a:p>
            <a:pPr defTabSz="914367"/>
            <a:r>
              <a:rPr lang="en-US" sz="1200">
                <a:solidFill>
                  <a:srgbClr val="FFFFFF"/>
                </a:solidFill>
                <a:latin typeface="Segoe UI Semilight"/>
              </a:rPr>
              <a:t>On Demand</a:t>
            </a:r>
          </a:p>
        </p:txBody>
      </p:sp>
      <p:sp>
        <p:nvSpPr>
          <p:cNvPr id="26" name="Rectangle 25"/>
          <p:cNvSpPr/>
          <p:nvPr/>
        </p:nvSpPr>
        <p:spPr>
          <a:xfrm>
            <a:off x="10030207" y="3728070"/>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1</a:t>
            </a:r>
            <a:endParaRPr lang="en-US" sz="1078">
              <a:solidFill>
                <a:srgbClr val="FFFFFF"/>
              </a:solidFill>
              <a:latin typeface="Segoe UI Semilight"/>
            </a:endParaRPr>
          </a:p>
        </p:txBody>
      </p:sp>
      <p:sp>
        <p:nvSpPr>
          <p:cNvPr id="27" name="Rectangle 26"/>
          <p:cNvSpPr/>
          <p:nvPr/>
        </p:nvSpPr>
        <p:spPr>
          <a:xfrm>
            <a:off x="10040738" y="4386284"/>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ctivity 2</a:t>
            </a:r>
          </a:p>
        </p:txBody>
      </p:sp>
      <p:sp>
        <p:nvSpPr>
          <p:cNvPr id="30" name="Rectangle 29"/>
          <p:cNvSpPr/>
          <p:nvPr/>
        </p:nvSpPr>
        <p:spPr>
          <a:xfrm>
            <a:off x="10040738" y="5107433"/>
            <a:ext cx="820050" cy="399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078" b="1">
                <a:solidFill>
                  <a:srgbClr val="FFFFFF"/>
                </a:solidFill>
                <a:latin typeface="Segoe UI Semilight"/>
              </a:rPr>
              <a:t>…</a:t>
            </a:r>
            <a:endParaRPr lang="en-US" sz="1029">
              <a:solidFill>
                <a:srgbClr val="FFFFFF"/>
              </a:solidFill>
              <a:latin typeface="Segoe UI Semilight"/>
            </a:endParaRPr>
          </a:p>
        </p:txBody>
      </p:sp>
      <p:cxnSp>
        <p:nvCxnSpPr>
          <p:cNvPr id="37" name="Straight Arrow Connector 36"/>
          <p:cNvCxnSpPr/>
          <p:nvPr/>
        </p:nvCxnSpPr>
        <p:spPr>
          <a:xfrm>
            <a:off x="10437365" y="4124997"/>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464157" y="4819782"/>
            <a:ext cx="0" cy="249839"/>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017579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tegration Runtime</a:t>
            </a:r>
          </a:p>
        </p:txBody>
      </p:sp>
    </p:spTree>
    <p:extLst>
      <p:ext uri="{BB962C8B-B14F-4D97-AF65-F5344CB8AC3E}">
        <p14:creationId xmlns:p14="http://schemas.microsoft.com/office/powerpoint/2010/main" val="1586257988"/>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5">
            <a:extLst>
              <a:ext uri="{FF2B5EF4-FFF2-40B4-BE49-F238E27FC236}">
                <a16:creationId xmlns:a16="http://schemas.microsoft.com/office/drawing/2014/main" id="{358C9A89-C7F7-4C42-B62C-DC26CF09ECA0}"/>
              </a:ext>
            </a:extLst>
          </p:cNvPr>
          <p:cNvSpPr>
            <a:spLocks noChangeAspect="1"/>
          </p:cNvSpPr>
          <p:nvPr/>
        </p:nvSpPr>
        <p:spPr bwMode="black">
          <a:xfrm>
            <a:off x="4750679" y="4125438"/>
            <a:ext cx="947169" cy="57655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0F0"/>
          </a:solidFill>
          <a:ln w="19050">
            <a:noFill/>
          </a:ln>
        </p:spPr>
        <p:txBody>
          <a:bodyPr vert="horz" wrap="square" lIns="124311" tIns="62157" rIns="124311" bIns="62157" numCol="1" anchor="t" anchorCtr="0" compatLnSpc="1">
            <a:prstTxWarp prst="textNoShape">
              <a:avLst/>
            </a:prstTxWarp>
          </a:bodyPr>
          <a:lstStyle/>
          <a:p>
            <a:pPr defTabSz="621477">
              <a:defRPr/>
            </a:pPr>
            <a:endParaRPr lang="en-US" sz="2448" kern="0">
              <a:solidFill>
                <a:srgbClr val="404040"/>
              </a:solidFill>
              <a:latin typeface="Segoe UI"/>
            </a:endParaRPr>
          </a:p>
        </p:txBody>
      </p:sp>
      <p:sp>
        <p:nvSpPr>
          <p:cNvPr id="31" name="Rectangle 30">
            <a:extLst>
              <a:ext uri="{FF2B5EF4-FFF2-40B4-BE49-F238E27FC236}">
                <a16:creationId xmlns:a16="http://schemas.microsoft.com/office/drawing/2014/main" id="{291AFDEC-A03D-447C-A77F-416B070CA50A}"/>
              </a:ext>
            </a:extLst>
          </p:cNvPr>
          <p:cNvSpPr/>
          <p:nvPr/>
        </p:nvSpPr>
        <p:spPr>
          <a:xfrm>
            <a:off x="89813" y="57827"/>
            <a:ext cx="11915040" cy="657331"/>
          </a:xfrm>
          <a:prstGeom prst="rect">
            <a:avLst/>
          </a:prstGeom>
        </p:spPr>
        <p:txBody>
          <a:bodyPr wrap="square">
            <a:spAutoFit/>
          </a:bodyPr>
          <a:lstStyle/>
          <a:p>
            <a:pPr defTabSz="914049">
              <a:defRPr/>
            </a:pPr>
            <a:r>
              <a:rPr lang="en-US" sz="3600" b="1">
                <a:solidFill>
                  <a:srgbClr val="5B9BD5">
                    <a:lumMod val="75000"/>
                  </a:srgbClr>
                </a:solidFill>
                <a:latin typeface="Calibri Light" panose="020F0302020204030204"/>
              </a:rPr>
              <a:t>ADF Integration Runtime (IR)</a:t>
            </a:r>
          </a:p>
        </p:txBody>
      </p:sp>
      <p:sp>
        <p:nvSpPr>
          <p:cNvPr id="68" name="Rectangle 67">
            <a:extLst>
              <a:ext uri="{FF2B5EF4-FFF2-40B4-BE49-F238E27FC236}">
                <a16:creationId xmlns:a16="http://schemas.microsoft.com/office/drawing/2014/main" id="{3863DEE9-0911-4707-895E-902DCE9D1305}"/>
              </a:ext>
            </a:extLst>
          </p:cNvPr>
          <p:cNvSpPr/>
          <p:nvPr/>
        </p:nvSpPr>
        <p:spPr>
          <a:xfrm>
            <a:off x="6426635" y="1155059"/>
            <a:ext cx="5496007" cy="3356918"/>
          </a:xfrm>
          <a:prstGeom prst="rect">
            <a:avLst/>
          </a:prstGeom>
        </p:spPr>
        <p:txBody>
          <a:bodyPr wrap="square">
            <a:spAutoFit/>
          </a:bodyPr>
          <a:lstStyle/>
          <a:p>
            <a:pPr marL="285640" indent="-285640" defTabSz="914192">
              <a:buFont typeface="Wingdings" panose="05000000000000000000" pitchFamily="2" charset="2"/>
              <a:buChar char="§"/>
            </a:pPr>
            <a:r>
              <a:rPr lang="en-US" sz="1600">
                <a:solidFill>
                  <a:srgbClr val="353535"/>
                </a:solidFill>
                <a:latin typeface="Segoe UI Semilight"/>
              </a:rPr>
              <a:t>ADF compute environment with multiple capabilities:</a:t>
            </a:r>
          </a:p>
          <a:p>
            <a:pPr marL="742665" lvl="1" indent="-285640" defTabSz="914192">
              <a:buFontTx/>
              <a:buChar char="-"/>
            </a:pPr>
            <a:r>
              <a:rPr lang="en-US" sz="1600">
                <a:solidFill>
                  <a:srgbClr val="353535"/>
                </a:solidFill>
                <a:latin typeface="Segoe UI Semilight"/>
              </a:rPr>
              <a:t>Activity dispatch &amp; monitoring</a:t>
            </a:r>
          </a:p>
          <a:p>
            <a:pPr marL="742665" lvl="1" indent="-285640" defTabSz="914192">
              <a:buFontTx/>
              <a:buChar char="-"/>
            </a:pPr>
            <a:r>
              <a:rPr lang="en-US" sz="1600">
                <a:solidFill>
                  <a:srgbClr val="353535"/>
                </a:solidFill>
                <a:latin typeface="Segoe UI Semilight"/>
              </a:rPr>
              <a:t>Data movement</a:t>
            </a:r>
          </a:p>
          <a:p>
            <a:pPr marL="742665" lvl="1" indent="-285640" defTabSz="914192">
              <a:buFontTx/>
              <a:buChar char="-"/>
            </a:pPr>
            <a:r>
              <a:rPr lang="en-US" sz="1600">
                <a:solidFill>
                  <a:srgbClr val="353535"/>
                </a:solidFill>
                <a:latin typeface="Segoe UI Semilight"/>
              </a:rPr>
              <a:t>SSIS package execution</a:t>
            </a:r>
          </a:p>
          <a:p>
            <a:pPr marL="285640" indent="-285640" defTabSz="914192">
              <a:buFont typeface="Wingdings" panose="05000000000000000000" pitchFamily="2" charset="2"/>
              <a:buChar char="§"/>
            </a:pPr>
            <a:r>
              <a:rPr lang="en-US" sz="1600">
                <a:solidFill>
                  <a:srgbClr val="353535"/>
                </a:solidFill>
                <a:latin typeface="Segoe UI Semilight"/>
              </a:rPr>
              <a:t>To integrate data flow and control flow across the enterprises’ hybrid cloud, customer can instantiate multiple IR instances for different network environments:</a:t>
            </a:r>
          </a:p>
          <a:p>
            <a:pPr marL="742665" lvl="1" indent="-285640" defTabSz="914192">
              <a:buFontTx/>
              <a:buChar char="-"/>
            </a:pPr>
            <a:r>
              <a:rPr lang="en-US" sz="1600">
                <a:solidFill>
                  <a:srgbClr val="353535"/>
                </a:solidFill>
                <a:latin typeface="Segoe UI Semilight"/>
              </a:rPr>
              <a:t>On premises (similar to DMG in ADF V1)</a:t>
            </a:r>
          </a:p>
          <a:p>
            <a:pPr marL="742665" lvl="1" indent="-285640" defTabSz="914192">
              <a:buFontTx/>
              <a:buChar char="-"/>
            </a:pPr>
            <a:r>
              <a:rPr lang="en-US" sz="1600">
                <a:solidFill>
                  <a:srgbClr val="353535"/>
                </a:solidFill>
                <a:latin typeface="Segoe UI Semilight"/>
              </a:rPr>
              <a:t>In public cloud</a:t>
            </a:r>
          </a:p>
          <a:p>
            <a:pPr marL="742665" lvl="1" indent="-285640" defTabSz="914192">
              <a:buFontTx/>
              <a:buChar char="-"/>
            </a:pPr>
            <a:r>
              <a:rPr lang="en-US" sz="1600">
                <a:solidFill>
                  <a:srgbClr val="353535"/>
                </a:solidFill>
                <a:latin typeface="Segoe UI Semilight"/>
              </a:rPr>
              <a:t>Inside </a:t>
            </a:r>
            <a:r>
              <a:rPr lang="en-US" sz="1600" err="1">
                <a:solidFill>
                  <a:srgbClr val="353535"/>
                </a:solidFill>
                <a:latin typeface="Segoe UI Semilight"/>
              </a:rPr>
              <a:t>VNet</a:t>
            </a:r>
            <a:endParaRPr lang="en-US" sz="1600">
              <a:solidFill>
                <a:srgbClr val="353535"/>
              </a:solidFill>
              <a:latin typeface="Segoe UI Semilight"/>
            </a:endParaRPr>
          </a:p>
          <a:p>
            <a:pPr marL="285640" indent="-285640" defTabSz="914192">
              <a:buFont typeface="Wingdings" panose="05000000000000000000" pitchFamily="2" charset="2"/>
              <a:buChar char="§"/>
            </a:pPr>
            <a:r>
              <a:rPr lang="en-US" sz="1600">
                <a:solidFill>
                  <a:srgbClr val="353535"/>
                </a:solidFill>
                <a:latin typeface="Segoe UI Semilight"/>
              </a:rPr>
              <a:t>Bring a consistent provision and monitoring experience across the network environments</a:t>
            </a:r>
          </a:p>
          <a:p>
            <a:pPr marL="1199689" lvl="2" indent="-285640" defTabSz="914192">
              <a:buFontTx/>
              <a:buChar char="-"/>
            </a:pPr>
            <a:endParaRPr lang="en-US" sz="1600">
              <a:solidFill>
                <a:srgbClr val="353535"/>
              </a:solidFill>
              <a:latin typeface="Segoe UI Semilight"/>
            </a:endParaRPr>
          </a:p>
        </p:txBody>
      </p:sp>
      <p:sp>
        <p:nvSpPr>
          <p:cNvPr id="9" name="Rectangle 8">
            <a:extLst>
              <a:ext uri="{FF2B5EF4-FFF2-40B4-BE49-F238E27FC236}">
                <a16:creationId xmlns:a16="http://schemas.microsoft.com/office/drawing/2014/main" id="{96160F4A-684E-4781-95EE-93755463B21E}"/>
              </a:ext>
            </a:extLst>
          </p:cNvPr>
          <p:cNvSpPr/>
          <p:nvPr/>
        </p:nvSpPr>
        <p:spPr>
          <a:xfrm>
            <a:off x="1323364" y="1305243"/>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0" name="Rectangle 9">
            <a:extLst>
              <a:ext uri="{FF2B5EF4-FFF2-40B4-BE49-F238E27FC236}">
                <a16:creationId xmlns:a16="http://schemas.microsoft.com/office/drawing/2014/main" id="{0523F87A-8877-489D-BCD8-74CC7D74F709}"/>
              </a:ext>
            </a:extLst>
          </p:cNvPr>
          <p:cNvSpPr/>
          <p:nvPr/>
        </p:nvSpPr>
        <p:spPr>
          <a:xfrm>
            <a:off x="2112993" y="1471632"/>
            <a:ext cx="213331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Portal Application &amp; SDK</a:t>
            </a:r>
          </a:p>
        </p:txBody>
      </p:sp>
      <p:sp>
        <p:nvSpPr>
          <p:cNvPr id="12" name="Rectangle 11">
            <a:extLst>
              <a:ext uri="{FF2B5EF4-FFF2-40B4-BE49-F238E27FC236}">
                <a16:creationId xmlns:a16="http://schemas.microsoft.com/office/drawing/2014/main" id="{4DF81062-8676-4071-8AFB-168E71B29659}"/>
              </a:ext>
            </a:extLst>
          </p:cNvPr>
          <p:cNvSpPr/>
          <p:nvPr/>
        </p:nvSpPr>
        <p:spPr>
          <a:xfrm>
            <a:off x="1323364" y="2339949"/>
            <a:ext cx="2994277" cy="640468"/>
          </a:xfrm>
          <a:prstGeom prst="rect">
            <a:avLst/>
          </a:prstGeom>
          <a:solidFill>
            <a:schemeClr val="bg1">
              <a:lumMod val="95000"/>
              <a:alpha val="7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a:solidFill>
                <a:srgbClr val="FFFFFF"/>
              </a:solidFill>
              <a:latin typeface="Segoe UI Semilight"/>
            </a:endParaRPr>
          </a:p>
        </p:txBody>
      </p:sp>
      <p:sp>
        <p:nvSpPr>
          <p:cNvPr id="13" name="Rectangle 12">
            <a:extLst>
              <a:ext uri="{FF2B5EF4-FFF2-40B4-BE49-F238E27FC236}">
                <a16:creationId xmlns:a16="http://schemas.microsoft.com/office/drawing/2014/main" id="{E52B481A-D23D-487A-B56D-85CFB0C7EB6C}"/>
              </a:ext>
            </a:extLst>
          </p:cNvPr>
          <p:cNvSpPr/>
          <p:nvPr/>
        </p:nvSpPr>
        <p:spPr>
          <a:xfrm>
            <a:off x="2036873" y="2506338"/>
            <a:ext cx="2285554" cy="311985"/>
          </a:xfrm>
          <a:prstGeom prst="rect">
            <a:avLst/>
          </a:prstGeom>
        </p:spPr>
        <p:txBody>
          <a:bodyPr wrap="none">
            <a:spAutoFit/>
          </a:bodyPr>
          <a:lstStyle/>
          <a:p>
            <a:pPr algn="ctr" defTabSz="1267430">
              <a:defRPr/>
            </a:pPr>
            <a:r>
              <a:rPr lang="en-US" sz="1400" kern="0">
                <a:solidFill>
                  <a:srgbClr val="404040">
                    <a:lumMod val="75000"/>
                  </a:srgbClr>
                </a:solidFill>
                <a:latin typeface="Segoe UI Semilight"/>
                <a:ea typeface="Segoe UI" pitchFamily="34" charset="0"/>
                <a:cs typeface="Segoe UI" pitchFamily="34" charset="0"/>
              </a:rPr>
              <a:t>Azure Data Factory Service</a:t>
            </a:r>
          </a:p>
        </p:txBody>
      </p:sp>
      <p:pic>
        <p:nvPicPr>
          <p:cNvPr id="14" name="Picture 13">
            <a:extLst>
              <a:ext uri="{FF2B5EF4-FFF2-40B4-BE49-F238E27FC236}">
                <a16:creationId xmlns:a16="http://schemas.microsoft.com/office/drawing/2014/main" id="{9D314EF9-6FBE-4E11-B2CA-66395109A4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8962" y="2436738"/>
            <a:ext cx="851218" cy="446891"/>
          </a:xfrm>
          <a:prstGeom prst="rect">
            <a:avLst/>
          </a:prstGeom>
        </p:spPr>
      </p:pic>
      <p:pic>
        <p:nvPicPr>
          <p:cNvPr id="25" name="Picture 24">
            <a:extLst>
              <a:ext uri="{FF2B5EF4-FFF2-40B4-BE49-F238E27FC236}">
                <a16:creationId xmlns:a16="http://schemas.microsoft.com/office/drawing/2014/main" id="{DDAA6E02-CE19-4D1B-9D88-EA71B77EF42D}"/>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0210" y="4147029"/>
            <a:ext cx="516762" cy="640570"/>
          </a:xfrm>
          <a:prstGeom prst="rect">
            <a:avLst/>
          </a:prstGeom>
          <a:solidFill>
            <a:schemeClr val="bg1"/>
          </a:solidFill>
        </p:spPr>
      </p:pic>
      <p:sp>
        <p:nvSpPr>
          <p:cNvPr id="28" name="TextBox 27">
            <a:extLst>
              <a:ext uri="{FF2B5EF4-FFF2-40B4-BE49-F238E27FC236}">
                <a16:creationId xmlns:a16="http://schemas.microsoft.com/office/drawing/2014/main" id="{B7861246-DA18-41B1-8658-2A778C70E59E}"/>
              </a:ext>
            </a:extLst>
          </p:cNvPr>
          <p:cNvSpPr txBox="1"/>
          <p:nvPr/>
        </p:nvSpPr>
        <p:spPr>
          <a:xfrm>
            <a:off x="700332" y="4701997"/>
            <a:ext cx="1729987" cy="565359"/>
          </a:xfrm>
          <a:prstGeom prst="rect">
            <a:avLst/>
          </a:prstGeom>
          <a:noFill/>
        </p:spPr>
        <p:txBody>
          <a:bodyPr wrap="square" rtlCol="0">
            <a:spAutoFit/>
          </a:bodyPr>
          <a:lstStyle/>
          <a:p>
            <a:pPr algn="ctr" defTabSz="914192"/>
            <a:r>
              <a:rPr lang="en-US" sz="1028" b="1">
                <a:solidFill>
                  <a:srgbClr val="353535"/>
                </a:solidFill>
                <a:latin typeface="Calibri" panose="020F0502020204030204" pitchFamily="34" charset="0"/>
                <a:cs typeface="Calibri" panose="020F0502020204030204" pitchFamily="34" charset="0"/>
              </a:rPr>
              <a:t>Data Movement &amp; Activity Dispatch on-</a:t>
            </a:r>
            <a:r>
              <a:rPr lang="en-US" sz="1028" b="1" err="1">
                <a:solidFill>
                  <a:srgbClr val="353535"/>
                </a:solidFill>
                <a:latin typeface="Calibri" panose="020F0502020204030204" pitchFamily="34" charset="0"/>
                <a:cs typeface="Calibri" panose="020F0502020204030204" pitchFamily="34" charset="0"/>
              </a:rPr>
              <a:t>prem</a:t>
            </a:r>
            <a:r>
              <a:rPr lang="en-US" sz="1028" b="1">
                <a:solidFill>
                  <a:srgbClr val="353535"/>
                </a:solidFill>
                <a:latin typeface="Calibri" panose="020F0502020204030204" pitchFamily="34" charset="0"/>
                <a:cs typeface="Calibri" panose="020F0502020204030204" pitchFamily="34" charset="0"/>
              </a:rPr>
              <a:t>, Cloud, VNET</a:t>
            </a:r>
          </a:p>
        </p:txBody>
      </p:sp>
      <p:sp>
        <p:nvSpPr>
          <p:cNvPr id="32" name="TextBox 31">
            <a:extLst>
              <a:ext uri="{FF2B5EF4-FFF2-40B4-BE49-F238E27FC236}">
                <a16:creationId xmlns:a16="http://schemas.microsoft.com/office/drawing/2014/main" id="{3C95FE36-1848-4DB1-8F00-CC245D819B00}"/>
              </a:ext>
            </a:extLst>
          </p:cNvPr>
          <p:cNvSpPr txBox="1"/>
          <p:nvPr/>
        </p:nvSpPr>
        <p:spPr>
          <a:xfrm>
            <a:off x="3092541" y="4677369"/>
            <a:ext cx="1742832" cy="723641"/>
          </a:xfrm>
          <a:prstGeom prst="rect">
            <a:avLst/>
          </a:prstGeom>
          <a:noFill/>
        </p:spPr>
        <p:txBody>
          <a:bodyPr wrap="square" rtlCol="0">
            <a:spAutoFit/>
          </a:bodyPr>
          <a:lstStyle/>
          <a:p>
            <a:pPr algn="ctr" defTabSz="1242699">
              <a:defRPr/>
            </a:pPr>
            <a:r>
              <a:rPr lang="en-US" sz="1028" b="1">
                <a:solidFill>
                  <a:prstClr val="black">
                    <a:lumMod val="75000"/>
                  </a:prstClr>
                </a:solidFill>
                <a:latin typeface="Calibri" panose="020F0502020204030204"/>
                <a:ea typeface="Segoe UI" pitchFamily="34" charset="0"/>
                <a:cs typeface="Segoe UI" pitchFamily="34" charset="0"/>
              </a:rPr>
              <a:t>Data Movement &amp; Activity Dispatch In Azure Public Network, SSIS</a:t>
            </a:r>
          </a:p>
          <a:p>
            <a:pPr algn="ctr" defTabSz="1242699">
              <a:defRPr/>
            </a:pPr>
            <a:r>
              <a:rPr lang="en-US" sz="1028" b="1" i="1">
                <a:solidFill>
                  <a:prstClr val="black">
                    <a:lumMod val="75000"/>
                  </a:prstClr>
                </a:solidFill>
                <a:latin typeface="Calibri" panose="020F0502020204030204"/>
                <a:ea typeface="Segoe UI" pitchFamily="34" charset="0"/>
                <a:cs typeface="Segoe UI" pitchFamily="34" charset="0"/>
              </a:rPr>
              <a:t>VNET coming soon</a:t>
            </a:r>
          </a:p>
        </p:txBody>
      </p:sp>
      <p:sp>
        <p:nvSpPr>
          <p:cNvPr id="34" name="Rectangle: Rounded Corners 33">
            <a:extLst>
              <a:ext uri="{FF2B5EF4-FFF2-40B4-BE49-F238E27FC236}">
                <a16:creationId xmlns:a16="http://schemas.microsoft.com/office/drawing/2014/main" id="{B0FE9F72-9968-4E50-B605-204B0333933F}"/>
              </a:ext>
            </a:extLst>
          </p:cNvPr>
          <p:cNvSpPr/>
          <p:nvPr/>
        </p:nvSpPr>
        <p:spPr>
          <a:xfrm>
            <a:off x="848744" y="4223668"/>
            <a:ext cx="1433162"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Self-Hosted IR</a:t>
            </a:r>
          </a:p>
        </p:txBody>
      </p:sp>
      <p:cxnSp>
        <p:nvCxnSpPr>
          <p:cNvPr id="36" name="Straight Arrow Connector 35">
            <a:extLst>
              <a:ext uri="{FF2B5EF4-FFF2-40B4-BE49-F238E27FC236}">
                <a16:creationId xmlns:a16="http://schemas.microsoft.com/office/drawing/2014/main" id="{808B6FD2-E36D-4431-8DEC-FB7E0A207F4B}"/>
              </a:ext>
            </a:extLst>
          </p:cNvPr>
          <p:cNvCxnSpPr>
            <a:cxnSpLocks/>
            <a:stCxn id="9" idx="2"/>
            <a:endCxn id="12" idx="0"/>
          </p:cNvCxnSpPr>
          <p:nvPr/>
        </p:nvCxnSpPr>
        <p:spPr>
          <a:xfrm>
            <a:off x="2820502" y="1945711"/>
            <a:ext cx="0" cy="39424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DE9A045C-373D-4D14-B7BA-0B6380CCC546}"/>
              </a:ext>
            </a:extLst>
          </p:cNvPr>
          <p:cNvSpPr/>
          <p:nvPr/>
        </p:nvSpPr>
        <p:spPr>
          <a:xfrm>
            <a:off x="3434892" y="4203570"/>
            <a:ext cx="1173998" cy="47832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400" b="1">
                <a:solidFill>
                  <a:srgbClr val="FFFFFF"/>
                </a:solidFill>
                <a:latin typeface="Segoe UI Semilight"/>
              </a:rPr>
              <a:t>Azure IR</a:t>
            </a:r>
          </a:p>
        </p:txBody>
      </p:sp>
      <p:cxnSp>
        <p:nvCxnSpPr>
          <p:cNvPr id="40" name="Straight Arrow Connector 39">
            <a:extLst>
              <a:ext uri="{FF2B5EF4-FFF2-40B4-BE49-F238E27FC236}">
                <a16:creationId xmlns:a16="http://schemas.microsoft.com/office/drawing/2014/main" id="{7A2A39C2-6451-46C2-8A07-D6EDC17E8A9B}"/>
              </a:ext>
            </a:extLst>
          </p:cNvPr>
          <p:cNvCxnSpPr>
            <a:cxnSpLocks/>
            <a:stCxn id="12" idx="2"/>
            <a:endCxn id="34" idx="0"/>
          </p:cNvCxnSpPr>
          <p:nvPr/>
        </p:nvCxnSpPr>
        <p:spPr>
          <a:xfrm flipH="1">
            <a:off x="1565326" y="2980417"/>
            <a:ext cx="1255177" cy="124325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BBD2F52-3213-409A-91BB-766791E3FEF0}"/>
              </a:ext>
            </a:extLst>
          </p:cNvPr>
          <p:cNvCxnSpPr>
            <a:cxnSpLocks/>
            <a:stCxn id="12" idx="2"/>
            <a:endCxn id="37" idx="0"/>
          </p:cNvCxnSpPr>
          <p:nvPr/>
        </p:nvCxnSpPr>
        <p:spPr>
          <a:xfrm>
            <a:off x="2820503" y="2980418"/>
            <a:ext cx="1201389" cy="1223152"/>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6892CAB-8A5B-4611-91E5-F02725B98A1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35008" y="1388932"/>
            <a:ext cx="499126" cy="473091"/>
          </a:xfrm>
          <a:prstGeom prst="rect">
            <a:avLst/>
          </a:prstGeom>
        </p:spPr>
      </p:pic>
    </p:spTree>
    <p:extLst>
      <p:ext uri="{BB962C8B-B14F-4D97-AF65-F5344CB8AC3E}">
        <p14:creationId xmlns:p14="http://schemas.microsoft.com/office/powerpoint/2010/main" val="29884684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1000"/>
                                        <p:tgtEl>
                                          <p:spTgt spid="68">
                                            <p:txEl>
                                              <p:pRg st="0" end="0"/>
                                            </p:txEl>
                                          </p:spTgt>
                                        </p:tgtEl>
                                      </p:cBhvr>
                                    </p:animEffect>
                                    <p:anim calcmode="lin" valueType="num">
                                      <p:cBhvr>
                                        <p:cTn id="8" dur="1000" fill="hold"/>
                                        <p:tgtEl>
                                          <p:spTgt spid="6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8">
                                            <p:txEl>
                                              <p:pRg st="1" end="1"/>
                                            </p:txEl>
                                          </p:spTgt>
                                        </p:tgtEl>
                                        <p:attrNameLst>
                                          <p:attrName>style.visibility</p:attrName>
                                        </p:attrNameLst>
                                      </p:cBhvr>
                                      <p:to>
                                        <p:strVal val="visible"/>
                                      </p:to>
                                    </p:set>
                                    <p:animEffect transition="in" filter="fade">
                                      <p:cBhvr>
                                        <p:cTn id="12" dur="1000"/>
                                        <p:tgtEl>
                                          <p:spTgt spid="68">
                                            <p:txEl>
                                              <p:pRg st="1" end="1"/>
                                            </p:txEl>
                                          </p:spTgt>
                                        </p:tgtEl>
                                      </p:cBhvr>
                                    </p:animEffect>
                                    <p:anim calcmode="lin" valueType="num">
                                      <p:cBhvr>
                                        <p:cTn id="13" dur="1000" fill="hold"/>
                                        <p:tgtEl>
                                          <p:spTgt spid="6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68">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8">
                                            <p:txEl>
                                              <p:pRg st="2" end="2"/>
                                            </p:txEl>
                                          </p:spTgt>
                                        </p:tgtEl>
                                        <p:attrNameLst>
                                          <p:attrName>style.visibility</p:attrName>
                                        </p:attrNameLst>
                                      </p:cBhvr>
                                      <p:to>
                                        <p:strVal val="visible"/>
                                      </p:to>
                                    </p:set>
                                    <p:animEffect transition="in" filter="fade">
                                      <p:cBhvr>
                                        <p:cTn id="17" dur="1000"/>
                                        <p:tgtEl>
                                          <p:spTgt spid="68">
                                            <p:txEl>
                                              <p:pRg st="2" end="2"/>
                                            </p:txEl>
                                          </p:spTgt>
                                        </p:tgtEl>
                                      </p:cBhvr>
                                    </p:animEffect>
                                    <p:anim calcmode="lin" valueType="num">
                                      <p:cBhvr>
                                        <p:cTn id="18" dur="1000" fill="hold"/>
                                        <p:tgtEl>
                                          <p:spTgt spid="68">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68">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8">
                                            <p:txEl>
                                              <p:pRg st="3" end="3"/>
                                            </p:txEl>
                                          </p:spTgt>
                                        </p:tgtEl>
                                        <p:attrNameLst>
                                          <p:attrName>style.visibility</p:attrName>
                                        </p:attrNameLst>
                                      </p:cBhvr>
                                      <p:to>
                                        <p:strVal val="visible"/>
                                      </p:to>
                                    </p:set>
                                    <p:animEffect transition="in" filter="fade">
                                      <p:cBhvr>
                                        <p:cTn id="22" dur="1000"/>
                                        <p:tgtEl>
                                          <p:spTgt spid="68">
                                            <p:txEl>
                                              <p:pRg st="3" end="3"/>
                                            </p:txEl>
                                          </p:spTgt>
                                        </p:tgtEl>
                                      </p:cBhvr>
                                    </p:animEffect>
                                    <p:anim calcmode="lin" valueType="num">
                                      <p:cBhvr>
                                        <p:cTn id="23" dur="1000" fill="hold"/>
                                        <p:tgtEl>
                                          <p:spTgt spid="68">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68">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68">
                                            <p:txEl>
                                              <p:pRg st="4" end="4"/>
                                            </p:txEl>
                                          </p:spTgt>
                                        </p:tgtEl>
                                        <p:attrNameLst>
                                          <p:attrName>style.visibility</p:attrName>
                                        </p:attrNameLst>
                                      </p:cBhvr>
                                      <p:to>
                                        <p:strVal val="visible"/>
                                      </p:to>
                                    </p:set>
                                    <p:animEffect transition="in" filter="fade">
                                      <p:cBhvr>
                                        <p:cTn id="29" dur="1000"/>
                                        <p:tgtEl>
                                          <p:spTgt spid="68">
                                            <p:txEl>
                                              <p:pRg st="4" end="4"/>
                                            </p:txEl>
                                          </p:spTgt>
                                        </p:tgtEl>
                                      </p:cBhvr>
                                    </p:animEffect>
                                    <p:anim calcmode="lin" valueType="num">
                                      <p:cBhvr>
                                        <p:cTn id="30" dur="1000" fill="hold"/>
                                        <p:tgtEl>
                                          <p:spTgt spid="68">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68">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8">
                                            <p:txEl>
                                              <p:pRg st="5" end="5"/>
                                            </p:txEl>
                                          </p:spTgt>
                                        </p:tgtEl>
                                        <p:attrNameLst>
                                          <p:attrName>style.visibility</p:attrName>
                                        </p:attrNameLst>
                                      </p:cBhvr>
                                      <p:to>
                                        <p:strVal val="visible"/>
                                      </p:to>
                                    </p:set>
                                    <p:animEffect transition="in" filter="fade">
                                      <p:cBhvr>
                                        <p:cTn id="34" dur="1000"/>
                                        <p:tgtEl>
                                          <p:spTgt spid="68">
                                            <p:txEl>
                                              <p:pRg st="5" end="5"/>
                                            </p:txEl>
                                          </p:spTgt>
                                        </p:tgtEl>
                                      </p:cBhvr>
                                    </p:animEffect>
                                    <p:anim calcmode="lin" valueType="num">
                                      <p:cBhvr>
                                        <p:cTn id="35" dur="1000" fill="hold"/>
                                        <p:tgtEl>
                                          <p:spTgt spid="68">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68">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8">
                                            <p:txEl>
                                              <p:pRg st="6" end="6"/>
                                            </p:txEl>
                                          </p:spTgt>
                                        </p:tgtEl>
                                        <p:attrNameLst>
                                          <p:attrName>style.visibility</p:attrName>
                                        </p:attrNameLst>
                                      </p:cBhvr>
                                      <p:to>
                                        <p:strVal val="visible"/>
                                      </p:to>
                                    </p:set>
                                    <p:animEffect transition="in" filter="fade">
                                      <p:cBhvr>
                                        <p:cTn id="39" dur="1000"/>
                                        <p:tgtEl>
                                          <p:spTgt spid="68">
                                            <p:txEl>
                                              <p:pRg st="6" end="6"/>
                                            </p:txEl>
                                          </p:spTgt>
                                        </p:tgtEl>
                                      </p:cBhvr>
                                    </p:animEffect>
                                    <p:anim calcmode="lin" valueType="num">
                                      <p:cBhvr>
                                        <p:cTn id="40" dur="1000" fill="hold"/>
                                        <p:tgtEl>
                                          <p:spTgt spid="68">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68">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68">
                                            <p:txEl>
                                              <p:pRg st="7" end="7"/>
                                            </p:txEl>
                                          </p:spTgt>
                                        </p:tgtEl>
                                        <p:attrNameLst>
                                          <p:attrName>style.visibility</p:attrName>
                                        </p:attrNameLst>
                                      </p:cBhvr>
                                      <p:to>
                                        <p:strVal val="visible"/>
                                      </p:to>
                                    </p:set>
                                    <p:animEffect transition="in" filter="fade">
                                      <p:cBhvr>
                                        <p:cTn id="44" dur="1000"/>
                                        <p:tgtEl>
                                          <p:spTgt spid="68">
                                            <p:txEl>
                                              <p:pRg st="7" end="7"/>
                                            </p:txEl>
                                          </p:spTgt>
                                        </p:tgtEl>
                                      </p:cBhvr>
                                    </p:animEffect>
                                    <p:anim calcmode="lin" valueType="num">
                                      <p:cBhvr>
                                        <p:cTn id="45" dur="1000" fill="hold"/>
                                        <p:tgtEl>
                                          <p:spTgt spid="68">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68">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68">
                                            <p:txEl>
                                              <p:pRg st="8" end="8"/>
                                            </p:txEl>
                                          </p:spTgt>
                                        </p:tgtEl>
                                        <p:attrNameLst>
                                          <p:attrName>style.visibility</p:attrName>
                                        </p:attrNameLst>
                                      </p:cBhvr>
                                      <p:to>
                                        <p:strVal val="visible"/>
                                      </p:to>
                                    </p:set>
                                    <p:animEffect transition="in" filter="fade">
                                      <p:cBhvr>
                                        <p:cTn id="51" dur="1000"/>
                                        <p:tgtEl>
                                          <p:spTgt spid="68">
                                            <p:txEl>
                                              <p:pRg st="8" end="8"/>
                                            </p:txEl>
                                          </p:spTgt>
                                        </p:tgtEl>
                                      </p:cBhvr>
                                    </p:animEffect>
                                    <p:anim calcmode="lin" valueType="num">
                                      <p:cBhvr>
                                        <p:cTn id="52" dur="1000" fill="hold"/>
                                        <p:tgtEl>
                                          <p:spTgt spid="68">
                                            <p:txEl>
                                              <p:pRg st="8" end="8"/>
                                            </p:txEl>
                                          </p:spTgt>
                                        </p:tgtEl>
                                        <p:attrNameLst>
                                          <p:attrName>ppt_x</p:attrName>
                                        </p:attrNameLst>
                                      </p:cBhvr>
                                      <p:tavLst>
                                        <p:tav tm="0">
                                          <p:val>
                                            <p:strVal val="#ppt_x"/>
                                          </p:val>
                                        </p:tav>
                                        <p:tav tm="100000">
                                          <p:val>
                                            <p:strVal val="#ppt_x"/>
                                          </p:val>
                                        </p:tav>
                                      </p:tavLst>
                                    </p:anim>
                                    <p:anim calcmode="lin" valueType="num">
                                      <p:cBhvr>
                                        <p:cTn id="53" dur="1000" fill="hold"/>
                                        <p:tgtEl>
                                          <p:spTgt spid="68">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Tree>
    <p:extLst>
      <p:ext uri="{BB962C8B-B14F-4D97-AF65-F5344CB8AC3E}">
        <p14:creationId xmlns:p14="http://schemas.microsoft.com/office/powerpoint/2010/main" val="283550824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6">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6789878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72519" y="1187938"/>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9655212" y="1691659"/>
            <a:ext cx="1968659" cy="611037"/>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568">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363414" y="1108195"/>
            <a:ext cx="2476643" cy="634238"/>
          </a:xfrm>
          <a:prstGeom prst="rect">
            <a:avLst/>
          </a:prstGeom>
          <a:noFill/>
        </p:spPr>
        <p:txBody>
          <a:bodyPr wrap="square" lIns="182806" tIns="146245" rIns="182806" bIns="146245" rtlCol="0">
            <a:spAutoFit/>
          </a:bodyPr>
          <a:lstStyle/>
          <a:p>
            <a:pP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Tree>
    <p:extLst>
      <p:ext uri="{BB962C8B-B14F-4D97-AF65-F5344CB8AC3E}">
        <p14:creationId xmlns:p14="http://schemas.microsoft.com/office/powerpoint/2010/main" val="95205490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0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0705" y="2945063"/>
            <a:ext cx="1400104" cy="494704"/>
          </a:xfrm>
          <a:prstGeom prst="rect">
            <a:avLst/>
          </a:prstGeom>
        </p:spPr>
      </p:pic>
      <p:sp>
        <p:nvSpPr>
          <p:cNvPr id="45" name="Freeform 5"/>
          <p:cNvSpPr>
            <a:spLocks noChangeAspect="1"/>
          </p:cNvSpPr>
          <p:nvPr/>
        </p:nvSpPr>
        <p:spPr bwMode="black">
          <a:xfrm>
            <a:off x="6149642" y="1186221"/>
            <a:ext cx="5968093" cy="184434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9" name="Freeform 5"/>
          <p:cNvSpPr>
            <a:spLocks noChangeAspect="1"/>
          </p:cNvSpPr>
          <p:nvPr/>
        </p:nvSpPr>
        <p:spPr bwMode="black">
          <a:xfrm>
            <a:off x="2978885" y="323829"/>
            <a:ext cx="8135332" cy="184032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7" name="Rectangle: Rounded Corners 6"/>
          <p:cNvSpPr/>
          <p:nvPr/>
        </p:nvSpPr>
        <p:spPr bwMode="auto">
          <a:xfrm>
            <a:off x="3839798" y="1308453"/>
            <a:ext cx="4196176" cy="75597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Azure Data Factory Service</a:t>
            </a:r>
          </a:p>
        </p:txBody>
      </p:sp>
      <p:sp>
        <p:nvSpPr>
          <p:cNvPr id="8" name="TextBox 7"/>
          <p:cNvSpPr txBox="1"/>
          <p:nvPr/>
        </p:nvSpPr>
        <p:spPr>
          <a:xfrm>
            <a:off x="3551051" y="1583376"/>
            <a:ext cx="4719513" cy="596911"/>
          </a:xfrm>
          <a:prstGeom prst="rect">
            <a:avLst/>
          </a:prstGeom>
          <a:noFill/>
        </p:spPr>
        <p:txBody>
          <a:bodyPr wrap="square" lIns="243742" tIns="194993" rIns="243742" bIns="194993" rtlCol="0">
            <a:spAutoFit/>
          </a:bodyPr>
          <a:lstStyle/>
          <a:p>
            <a:pPr algn="ctr" defTabSz="609285">
              <a:lnSpc>
                <a:spcPct val="90000"/>
              </a:lnSpc>
              <a:spcAft>
                <a:spcPts val="800"/>
              </a:spcAft>
              <a:defRPr/>
            </a:pPr>
            <a:r>
              <a:rPr lang="en-US" sz="1467" i="1">
                <a:gradFill>
                  <a:gsLst>
                    <a:gs pos="2917">
                      <a:srgbClr val="404040"/>
                    </a:gs>
                    <a:gs pos="30000">
                      <a:srgbClr val="404040"/>
                    </a:gs>
                  </a:gsLst>
                  <a:lin ang="5400000" scaled="0"/>
                </a:gradFill>
                <a:latin typeface="Segoe UI"/>
              </a:rPr>
              <a:t>Scheduling | Orchestration | Monitoring</a:t>
            </a:r>
          </a:p>
        </p:txBody>
      </p:sp>
      <p:cxnSp>
        <p:nvCxnSpPr>
          <p:cNvPr id="12" name="Straight Arrow Connector 11"/>
          <p:cNvCxnSpPr>
            <a:cxnSpLocks/>
          </p:cNvCxnSpPr>
          <p:nvPr/>
        </p:nvCxnSpPr>
        <p:spPr>
          <a:xfrm>
            <a:off x="6070112" y="1036881"/>
            <a:ext cx="0" cy="2011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Freeform 5"/>
          <p:cNvSpPr>
            <a:spLocks noChangeAspect="1"/>
          </p:cNvSpPr>
          <p:nvPr/>
        </p:nvSpPr>
        <p:spPr bwMode="black">
          <a:xfrm>
            <a:off x="7426616" y="3907660"/>
            <a:ext cx="5309212" cy="28720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121870" tIns="60935" rIns="121870" bIns="60935" numCol="1" anchor="t" anchorCtr="0" compatLnSpc="1">
            <a:prstTxWarp prst="textNoShape">
              <a:avLst/>
            </a:prstTxWarp>
          </a:bodyPr>
          <a:lstStyle/>
          <a:p>
            <a:pPr defTabSz="609285"/>
            <a:endParaRPr lang="en-US" sz="2399">
              <a:solidFill>
                <a:srgbClr val="404040"/>
              </a:solidFill>
              <a:latin typeface="Segoe UI"/>
            </a:endParaRPr>
          </a:p>
        </p:txBody>
      </p:sp>
      <p:sp>
        <p:nvSpPr>
          <p:cNvPr id="22" name="Rectangle: Rounded Corners 21"/>
          <p:cNvSpPr/>
          <p:nvPr/>
        </p:nvSpPr>
        <p:spPr bwMode="auto">
          <a:xfrm>
            <a:off x="8035973" y="4594347"/>
            <a:ext cx="3851996" cy="1936429"/>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Cloud Apps, </a:t>
            </a:r>
            <a:r>
              <a:rPr lang="en-US" sz="1866" b="1" err="1">
                <a:solidFill>
                  <a:srgbClr val="404040">
                    <a:lumMod val="75000"/>
                  </a:srgbClr>
                </a:solidFill>
                <a:latin typeface="Segoe UI"/>
                <a:ea typeface="Segoe UI" pitchFamily="34" charset="0"/>
                <a:cs typeface="Segoe UI" pitchFamily="34" charset="0"/>
              </a:rPr>
              <a:t>Svcs</a:t>
            </a:r>
            <a:r>
              <a:rPr lang="en-US" sz="1866" b="1">
                <a:solidFill>
                  <a:srgbClr val="404040">
                    <a:lumMod val="75000"/>
                  </a:srgbClr>
                </a:solidFill>
                <a:latin typeface="Segoe UI"/>
                <a:ea typeface="Segoe UI" pitchFamily="34" charset="0"/>
                <a:cs typeface="Segoe UI" pitchFamily="34" charset="0"/>
              </a:rPr>
              <a:t> &amp; Data</a:t>
            </a:r>
          </a:p>
          <a:p>
            <a:pPr algn="ctr" defTabSz="1242566">
              <a:defRPr/>
            </a:pPr>
            <a:endParaRPr lang="en-US" sz="1600" i="1">
              <a:gradFill>
                <a:gsLst>
                  <a:gs pos="2917">
                    <a:srgbClr val="404040"/>
                  </a:gs>
                  <a:gs pos="30000">
                    <a:srgbClr val="404040"/>
                  </a:gs>
                </a:gsLst>
                <a:lin ang="5400000" scaled="0"/>
              </a:gradFill>
              <a:latin typeface="Segoe UI"/>
            </a:endParaRPr>
          </a:p>
        </p:txBody>
      </p:sp>
      <p:sp>
        <p:nvSpPr>
          <p:cNvPr id="23" name="AutoShape 2" descr="Image result for Amazon AWS"/>
          <p:cNvSpPr>
            <a:spLocks noChangeAspect="1" noChangeArrowheads="1"/>
          </p:cNvSpPr>
          <p:nvPr/>
        </p:nvSpPr>
        <p:spPr bwMode="auto">
          <a:xfrm>
            <a:off x="5892882" y="3902930"/>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sp>
        <p:nvSpPr>
          <p:cNvPr id="24" name="AutoShape 4" descr="Image result for Amazon AWS"/>
          <p:cNvSpPr>
            <a:spLocks noChangeAspect="1" noChangeArrowheads="1"/>
          </p:cNvSpPr>
          <p:nvPr/>
        </p:nvSpPr>
        <p:spPr bwMode="auto">
          <a:xfrm>
            <a:off x="6172519" y="4129831"/>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1032" name="Picture 8" descr="Image result for Amazon AW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1968" y="5265726"/>
            <a:ext cx="1174566" cy="426254"/>
          </a:xfrm>
          <a:prstGeom prst="rect">
            <a:avLst/>
          </a:prstGeom>
          <a:noFill/>
          <a:extLst>
            <a:ext uri="{909E8E84-426E-40DD-AFC4-6F175D3DCCD1}">
              <a14:hiddenFill xmlns:a14="http://schemas.microsoft.com/office/drawing/2010/main">
                <a:solidFill>
                  <a:srgbClr val="FFFFFF"/>
                </a:solidFill>
              </a14:hiddenFill>
            </a:ext>
          </a:extLst>
        </p:spPr>
      </p:pic>
      <p:sp>
        <p:nvSpPr>
          <p:cNvPr id="26" name="AutoShape 10" descr="Image result for microsoft azure"/>
          <p:cNvSpPr>
            <a:spLocks noChangeAspect="1" noChangeArrowheads="1"/>
          </p:cNvSpPr>
          <p:nvPr/>
        </p:nvSpPr>
        <p:spPr bwMode="auto">
          <a:xfrm>
            <a:off x="6299118" y="4309166"/>
            <a:ext cx="406236" cy="4062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70" tIns="60935" rIns="121870" bIns="60935" numCol="1" anchor="t" anchorCtr="0" compatLnSpc="1">
            <a:prstTxWarp prst="textNoShape">
              <a:avLst/>
            </a:prstTxWarp>
          </a:bodyPr>
          <a:lstStyle/>
          <a:p>
            <a:pPr defTabSz="609285">
              <a:defRPr/>
            </a:pPr>
            <a:endParaRPr lang="en-US" sz="2399">
              <a:solidFill>
                <a:srgbClr val="404040"/>
              </a:solidFill>
              <a:latin typeface="Segoe UI"/>
            </a:endParaRPr>
          </a:p>
        </p:txBody>
      </p:sp>
      <p:pic>
        <p:nvPicPr>
          <p:cNvPr id="29" name="Picture 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4675" y="5783531"/>
            <a:ext cx="1249093" cy="642782"/>
          </a:xfrm>
          <a:prstGeom prst="rect">
            <a:avLst/>
          </a:prstGeom>
        </p:spPr>
      </p:pic>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5210" y="5186859"/>
            <a:ext cx="923988" cy="645199"/>
          </a:xfrm>
          <a:prstGeom prst="rect">
            <a:avLst/>
          </a:prstGeom>
        </p:spPr>
      </p:pic>
      <p:pic>
        <p:nvPicPr>
          <p:cNvPr id="32" name="Picture 31"/>
          <p:cNvPicPr>
            <a:picLocks noChangeAspect="1"/>
          </p:cNvPicPr>
          <p:nvPr/>
        </p:nvPicPr>
        <p:blipFill>
          <a:blip r:embed="rId7">
            <a:biLevel thresh="50000"/>
          </a:blip>
          <a:stretch>
            <a:fillRect/>
          </a:stretch>
        </p:blipFill>
        <p:spPr>
          <a:xfrm>
            <a:off x="90382" y="4195909"/>
            <a:ext cx="2072418" cy="2568935"/>
          </a:xfrm>
          <a:prstGeom prst="rect">
            <a:avLst/>
          </a:prstGeom>
        </p:spPr>
      </p:pic>
      <p:pic>
        <p:nvPicPr>
          <p:cNvPr id="31" name="Picture 3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32895" y="5032835"/>
            <a:ext cx="1055334" cy="414202"/>
          </a:xfrm>
          <a:prstGeom prst="rect">
            <a:avLst/>
          </a:prstGeom>
        </p:spPr>
      </p:pic>
      <p:pic>
        <p:nvPicPr>
          <p:cNvPr id="33" name="Picture 3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83458" y="5676818"/>
            <a:ext cx="1010189" cy="236380"/>
          </a:xfrm>
          <a:prstGeom prst="rect">
            <a:avLst/>
          </a:prstGeom>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38949" y="5933740"/>
            <a:ext cx="898263" cy="505272"/>
          </a:xfrm>
          <a:prstGeom prst="rect">
            <a:avLst/>
          </a:prstGeom>
        </p:spPr>
      </p:pic>
      <p:sp>
        <p:nvSpPr>
          <p:cNvPr id="36" name="Rectangle: Rounded Corners 35"/>
          <p:cNvSpPr/>
          <p:nvPr/>
        </p:nvSpPr>
        <p:spPr bwMode="auto">
          <a:xfrm>
            <a:off x="970189" y="4715403"/>
            <a:ext cx="3831557" cy="1833790"/>
          </a:xfrm>
          <a:prstGeom prst="roundRect">
            <a:avLst>
              <a:gd name="adj" fmla="val 29739"/>
            </a:avLst>
          </a:prstGeom>
          <a:ln>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On Premises Apps &amp; Data</a:t>
            </a:r>
          </a:p>
          <a:p>
            <a:pPr algn="ctr" defTabSz="1242566">
              <a:defRPr/>
            </a:pPr>
            <a:endParaRPr lang="en-US" sz="1600" i="1">
              <a:gradFill>
                <a:gsLst>
                  <a:gs pos="2917">
                    <a:srgbClr val="404040"/>
                  </a:gs>
                  <a:gs pos="30000">
                    <a:srgbClr val="404040"/>
                  </a:gs>
                </a:gsLst>
                <a:lin ang="5400000" scaled="0"/>
              </a:gradFill>
              <a:latin typeface="Segoe UI"/>
            </a:endParaRPr>
          </a:p>
        </p:txBody>
      </p:sp>
      <p:pic>
        <p:nvPicPr>
          <p:cNvPr id="35" name="Picture 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37233" y="5282990"/>
            <a:ext cx="773144" cy="391726"/>
          </a:xfrm>
          <a:prstGeom prst="rect">
            <a:avLst/>
          </a:prstGeom>
        </p:spPr>
      </p:pic>
      <p:pic>
        <p:nvPicPr>
          <p:cNvPr id="37" name="Picture 36"/>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269917" y="5974725"/>
            <a:ext cx="868487" cy="373394"/>
          </a:xfrm>
          <a:prstGeom prst="rect">
            <a:avLst/>
          </a:prstGeom>
        </p:spPr>
      </p:pic>
      <p:pic>
        <p:nvPicPr>
          <p:cNvPr id="38" name="Picture 37"/>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38102" y="5848983"/>
            <a:ext cx="763813" cy="211384"/>
          </a:xfrm>
          <a:prstGeom prst="rect">
            <a:avLst/>
          </a:prstGeom>
        </p:spPr>
      </p:pic>
      <p:pic>
        <p:nvPicPr>
          <p:cNvPr id="39" name="Picture 3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295307" y="5464914"/>
            <a:ext cx="1180127" cy="318617"/>
          </a:xfrm>
          <a:prstGeom prst="rect">
            <a:avLst/>
          </a:prstGeom>
        </p:spPr>
      </p:pic>
      <p:pic>
        <p:nvPicPr>
          <p:cNvPr id="40" name="Picture 3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99288" y="6059738"/>
            <a:ext cx="1067675" cy="203366"/>
          </a:xfrm>
          <a:prstGeom prst="rect">
            <a:avLst/>
          </a:prstGeom>
        </p:spPr>
      </p:pic>
      <p:pic>
        <p:nvPicPr>
          <p:cNvPr id="41" name="Picture 4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60367" y="5298179"/>
            <a:ext cx="745524" cy="605893"/>
          </a:xfrm>
          <a:prstGeom prst="rect">
            <a:avLst/>
          </a:prstGeom>
        </p:spPr>
      </p:pic>
      <p:sp>
        <p:nvSpPr>
          <p:cNvPr id="44" name="Rectangle: Rounded Corners 43"/>
          <p:cNvSpPr/>
          <p:nvPr/>
        </p:nvSpPr>
        <p:spPr bwMode="auto">
          <a:xfrm>
            <a:off x="8427382" y="1857323"/>
            <a:ext cx="3212536" cy="1040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46" name="TextBox 45"/>
          <p:cNvSpPr txBox="1"/>
          <p:nvPr/>
        </p:nvSpPr>
        <p:spPr>
          <a:xfrm>
            <a:off x="8896886" y="1691659"/>
            <a:ext cx="2506079" cy="615375"/>
          </a:xfrm>
          <a:prstGeom prst="rect">
            <a:avLst/>
          </a:prstGeom>
          <a:noFill/>
        </p:spPr>
        <p:txBody>
          <a:bodyPr wrap="square" lIns="243742" tIns="194993" rIns="243742" bIns="194993" rtlCol="0">
            <a:spAutoFit/>
          </a:bodyPr>
          <a:lstStyle/>
          <a:p>
            <a:pPr algn="r" defTabSz="609285">
              <a:lnSpc>
                <a:spcPct val="90000"/>
              </a:lnSpc>
              <a:spcAft>
                <a:spcPts val="800"/>
              </a:spcAft>
              <a:defRPr/>
            </a:pPr>
            <a:r>
              <a:rPr lang="en-US" sz="1600">
                <a:gradFill>
                  <a:gsLst>
                    <a:gs pos="2917">
                      <a:srgbClr val="404040"/>
                    </a:gs>
                    <a:gs pos="30000">
                      <a:srgbClr val="404040"/>
                    </a:gs>
                  </a:gsLst>
                  <a:lin ang="5400000" scaled="0"/>
                </a:gradFill>
                <a:latin typeface="Segoe UI"/>
              </a:rPr>
              <a:t>PaaS Cloud Host</a:t>
            </a:r>
          </a:p>
        </p:txBody>
      </p:sp>
      <p:sp>
        <p:nvSpPr>
          <p:cNvPr id="59" name="Rectangle: Rounded Corners 58"/>
          <p:cNvSpPr/>
          <p:nvPr/>
        </p:nvSpPr>
        <p:spPr bwMode="auto">
          <a:xfrm>
            <a:off x="1281093" y="3289433"/>
            <a:ext cx="3212536" cy="102575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21870" tIns="121870" rIns="45706" bIns="45706" rtlCol="0" anchor="t" anchorCtr="0"/>
          <a:lstStyle/>
          <a:p>
            <a:pPr algn="ctr" defTabSz="1242566">
              <a:defRPr/>
            </a:pPr>
            <a:endParaRPr lang="en-US" sz="1866" b="1">
              <a:solidFill>
                <a:srgbClr val="404040">
                  <a:lumMod val="75000"/>
                </a:srgbClr>
              </a:solidFill>
              <a:latin typeface="Segoe UI"/>
              <a:ea typeface="Segoe UI" pitchFamily="34" charset="0"/>
              <a:cs typeface="Segoe UI" pitchFamily="34" charset="0"/>
            </a:endParaRPr>
          </a:p>
        </p:txBody>
      </p:sp>
      <p:sp>
        <p:nvSpPr>
          <p:cNvPr id="60" name="Rectangle 59"/>
          <p:cNvSpPr/>
          <p:nvPr/>
        </p:nvSpPr>
        <p:spPr bwMode="auto">
          <a:xfrm>
            <a:off x="1469395" y="3633287"/>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sp>
        <p:nvSpPr>
          <p:cNvPr id="64" name="TextBox 63"/>
          <p:cNvSpPr txBox="1"/>
          <p:nvPr/>
        </p:nvSpPr>
        <p:spPr>
          <a:xfrm>
            <a:off x="1176227" y="3110162"/>
            <a:ext cx="2665679"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Installable Agent</a:t>
            </a:r>
          </a:p>
        </p:txBody>
      </p:sp>
      <p:sp>
        <p:nvSpPr>
          <p:cNvPr id="65" name="Rectangle 64"/>
          <p:cNvSpPr/>
          <p:nvPr/>
        </p:nvSpPr>
        <p:spPr bwMode="auto">
          <a:xfrm>
            <a:off x="8591908" y="2206539"/>
            <a:ext cx="2883483" cy="5363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1866">
                <a:gradFill>
                  <a:gsLst>
                    <a:gs pos="0">
                      <a:srgbClr val="FFFFFF"/>
                    </a:gs>
                    <a:gs pos="100000">
                      <a:srgbClr val="FFFFFF"/>
                    </a:gs>
                  </a:gsLst>
                  <a:lin ang="5400000" scaled="0"/>
                </a:gradFill>
                <a:latin typeface="Segoe UI"/>
                <a:ea typeface="Segoe UI" pitchFamily="34" charset="0"/>
                <a:cs typeface="Segoe UI" pitchFamily="34" charset="0"/>
              </a:rPr>
              <a:t>Integration Runtime</a:t>
            </a:r>
          </a:p>
        </p:txBody>
      </p:sp>
      <p:cxnSp>
        <p:nvCxnSpPr>
          <p:cNvPr id="66" name="Straight Arrow Connector 65"/>
          <p:cNvCxnSpPr>
            <a:stCxn id="8" idx="2"/>
            <a:endCxn id="60" idx="3"/>
          </p:cNvCxnSpPr>
          <p:nvPr/>
        </p:nvCxnSpPr>
        <p:spPr>
          <a:xfrm flipH="1">
            <a:off x="4352877" y="2180287"/>
            <a:ext cx="1557931" cy="1721201"/>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endCxn id="8" idx="2"/>
          </p:cNvCxnSpPr>
          <p:nvPr/>
        </p:nvCxnSpPr>
        <p:spPr>
          <a:xfrm flipH="1" flipV="1">
            <a:off x="5910808" y="2180286"/>
            <a:ext cx="2625095" cy="27182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a:stCxn id="59" idx="2"/>
            <a:endCxn id="36" idx="0"/>
          </p:cNvCxnSpPr>
          <p:nvPr/>
        </p:nvCxnSpPr>
        <p:spPr>
          <a:xfrm flipH="1">
            <a:off x="2885965" y="4315187"/>
            <a:ext cx="1396" cy="400218"/>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cxnSpLocks/>
            <a:stCxn id="15" idx="6"/>
            <a:endCxn id="65" idx="2"/>
          </p:cNvCxnSpPr>
          <p:nvPr/>
        </p:nvCxnSpPr>
        <p:spPr>
          <a:xfrm flipH="1" flipV="1">
            <a:off x="10033651" y="2742937"/>
            <a:ext cx="37444" cy="1793114"/>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cxnSpLocks/>
          </p:cNvCxnSpPr>
          <p:nvPr/>
        </p:nvCxnSpPr>
        <p:spPr>
          <a:xfrm flipH="1">
            <a:off x="187230" y="250050"/>
            <a:ext cx="467588" cy="7256"/>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flipH="1">
            <a:off x="183049" y="657525"/>
            <a:ext cx="471770" cy="7832"/>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cxnSpLocks/>
            <a:stCxn id="22" idx="1"/>
            <a:endCxn id="60" idx="3"/>
          </p:cNvCxnSpPr>
          <p:nvPr/>
        </p:nvCxnSpPr>
        <p:spPr>
          <a:xfrm flipH="1" flipV="1">
            <a:off x="4352877" y="3901486"/>
            <a:ext cx="3683093" cy="166107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cxnSpLocks/>
          </p:cNvCxnSpPr>
          <p:nvPr/>
        </p:nvCxnSpPr>
        <p:spPr>
          <a:xfrm flipH="1" flipV="1">
            <a:off x="3347809" y="4354766"/>
            <a:ext cx="123" cy="354181"/>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cxnSpLocks/>
          </p:cNvCxnSpPr>
          <p:nvPr/>
        </p:nvCxnSpPr>
        <p:spPr>
          <a:xfrm flipH="1" flipV="1">
            <a:off x="10349536" y="2757418"/>
            <a:ext cx="23899" cy="1784254"/>
          </a:xfrm>
          <a:prstGeom prst="straightConnector1">
            <a:avLst/>
          </a:prstGeom>
          <a:ln w="12700">
            <a:solidFill>
              <a:schemeClr val="accent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8" name="TextBox 1027"/>
          <p:cNvSpPr txBox="1"/>
          <p:nvPr/>
        </p:nvSpPr>
        <p:spPr>
          <a:xfrm>
            <a:off x="434319" y="-53378"/>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Command &amp; Control</a:t>
            </a:r>
          </a:p>
        </p:txBody>
      </p:sp>
      <p:sp>
        <p:nvSpPr>
          <p:cNvPr id="102" name="TextBox 101"/>
          <p:cNvSpPr txBox="1"/>
          <p:nvPr/>
        </p:nvSpPr>
        <p:spPr>
          <a:xfrm>
            <a:off x="439648" y="349872"/>
            <a:ext cx="2431292" cy="615306"/>
          </a:xfrm>
          <a:prstGeom prst="rect">
            <a:avLst/>
          </a:prstGeom>
          <a:noFill/>
        </p:spPr>
        <p:txBody>
          <a:bodyPr wrap="square" lIns="243742" tIns="194993" rIns="243742" bIns="194993" rtlCol="0">
            <a:spAutoFit/>
          </a:bodyPr>
          <a:lstStyle/>
          <a:p>
            <a:pPr defTabSz="609285">
              <a:lnSpc>
                <a:spcPct val="90000"/>
              </a:lnSpc>
              <a:spcAft>
                <a:spcPts val="800"/>
              </a:spcAft>
              <a:defRPr/>
            </a:pPr>
            <a:r>
              <a:rPr lang="en-US" sz="1600">
                <a:gradFill>
                  <a:gsLst>
                    <a:gs pos="2917">
                      <a:srgbClr val="404040"/>
                    </a:gs>
                    <a:gs pos="30000">
                      <a:srgbClr val="404040"/>
                    </a:gs>
                  </a:gsLst>
                  <a:lin ang="5400000" scaled="0"/>
                </a:gradFill>
                <a:latin typeface="Segoe UI"/>
              </a:rPr>
              <a:t>Data Flow</a:t>
            </a:r>
          </a:p>
        </p:txBody>
      </p:sp>
      <p:sp>
        <p:nvSpPr>
          <p:cNvPr id="47" name="Rectangle: Rounded Corners 46"/>
          <p:cNvSpPr/>
          <p:nvPr/>
        </p:nvSpPr>
        <p:spPr bwMode="auto">
          <a:xfrm>
            <a:off x="3839798" y="439478"/>
            <a:ext cx="4196176" cy="597403"/>
          </a:xfrm>
          <a:prstGeom prst="roundRect">
            <a:avLst>
              <a:gd name="adj" fmla="val 29739"/>
            </a:avLst>
          </a:prstGeom>
          <a:solidFill>
            <a:schemeClr val="lt1">
              <a:alpha val="64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rtlCol="0" anchor="t" anchorCtr="0"/>
          <a:lstStyle/>
          <a:p>
            <a:pPr algn="ctr" defTabSz="1242566">
              <a:defRPr/>
            </a:pPr>
            <a:r>
              <a:rPr lang="en-US" sz="1866" b="1">
                <a:solidFill>
                  <a:srgbClr val="404040">
                    <a:lumMod val="75000"/>
                  </a:srgbClr>
                </a:solidFill>
                <a:latin typeface="Segoe UI"/>
                <a:ea typeface="Segoe UI" pitchFamily="34" charset="0"/>
                <a:cs typeface="Segoe UI" pitchFamily="34" charset="0"/>
              </a:rPr>
              <a:t>UX &amp; SDK</a:t>
            </a:r>
          </a:p>
          <a:p>
            <a:pPr algn="ctr" defTabSz="1242566">
              <a:defRPr/>
            </a:pPr>
            <a:r>
              <a:rPr lang="en-US" sz="1467" i="1">
                <a:gradFill>
                  <a:gsLst>
                    <a:gs pos="2917">
                      <a:srgbClr val="404040"/>
                    </a:gs>
                    <a:gs pos="30000">
                      <a:srgbClr val="404040"/>
                    </a:gs>
                  </a:gsLst>
                  <a:lin ang="5400000" scaled="0"/>
                </a:gradFill>
                <a:latin typeface="Segoe UI"/>
              </a:rPr>
              <a:t>Authoring  | Monitoring/</a:t>
            </a:r>
            <a:r>
              <a:rPr lang="en-US" sz="1467" i="1" err="1">
                <a:gradFill>
                  <a:gsLst>
                    <a:gs pos="2917">
                      <a:srgbClr val="404040"/>
                    </a:gs>
                    <a:gs pos="30000">
                      <a:srgbClr val="404040"/>
                    </a:gs>
                  </a:gsLst>
                  <a:lin ang="5400000" scaled="0"/>
                </a:gradFill>
                <a:latin typeface="Segoe UI"/>
              </a:rPr>
              <a:t>Mgmt</a:t>
            </a:r>
            <a:endParaRPr lang="en-US" sz="1467" i="1">
              <a:gradFill>
                <a:gsLst>
                  <a:gs pos="2917">
                    <a:srgbClr val="404040"/>
                  </a:gs>
                  <a:gs pos="30000">
                    <a:srgbClr val="404040"/>
                  </a:gs>
                </a:gsLst>
                <a:lin ang="5400000" scaled="0"/>
              </a:gradFill>
              <a:latin typeface="Segoe UI"/>
            </a:endParaRPr>
          </a:p>
        </p:txBody>
      </p:sp>
      <p:pic>
        <p:nvPicPr>
          <p:cNvPr id="48" name="Picture 4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61224" y="497597"/>
            <a:ext cx="489327" cy="463801"/>
          </a:xfrm>
          <a:prstGeom prst="rect">
            <a:avLst/>
          </a:prstGeom>
        </p:spPr>
      </p:pic>
      <p:sp>
        <p:nvSpPr>
          <p:cNvPr id="49" name="TextBox 48"/>
          <p:cNvSpPr txBox="1"/>
          <p:nvPr/>
        </p:nvSpPr>
        <p:spPr>
          <a:xfrm>
            <a:off x="8206816" y="1050567"/>
            <a:ext cx="2476643" cy="634238"/>
          </a:xfrm>
          <a:prstGeom prst="rect">
            <a:avLst/>
          </a:prstGeom>
          <a:noFill/>
        </p:spPr>
        <p:txBody>
          <a:bodyPr wrap="square" lIns="182806" tIns="146245" rIns="182806" bIns="146245" rtlCol="0">
            <a:spAutoFit/>
          </a:bodyPr>
          <a:lstStyle/>
          <a:p>
            <a:pPr algn="r" defTabSz="914225">
              <a:lnSpc>
                <a:spcPct val="90000"/>
              </a:lnSpc>
              <a:spcAft>
                <a:spcPts val="600"/>
              </a:spcAft>
              <a:defRPr/>
            </a:pPr>
            <a:r>
              <a:rPr lang="en-US" sz="2399" b="1">
                <a:gradFill>
                  <a:gsLst>
                    <a:gs pos="2917">
                      <a:prstClr val="black"/>
                    </a:gs>
                    <a:gs pos="30000">
                      <a:prstClr val="black"/>
                    </a:gs>
                  </a:gsLst>
                  <a:lin ang="5400000" scaled="0"/>
                </a:gradFill>
                <a:latin typeface="Calibri" panose="020F0502020204030204"/>
              </a:rPr>
              <a:t>Azure Cloud </a:t>
            </a:r>
          </a:p>
        </p:txBody>
      </p:sp>
      <p:sp>
        <p:nvSpPr>
          <p:cNvPr id="50" name="Rectangle 49">
            <a:extLst>
              <a:ext uri="{FF2B5EF4-FFF2-40B4-BE49-F238E27FC236}">
                <a16:creationId xmlns:a16="http://schemas.microsoft.com/office/drawing/2014/main" id="{77EC7172-4167-47D9-A8DF-5FDFD24B5D23}"/>
              </a:ext>
            </a:extLst>
          </p:cNvPr>
          <p:cNvSpPr/>
          <p:nvPr/>
        </p:nvSpPr>
        <p:spPr bwMode="auto">
          <a:xfrm>
            <a:off x="1882449" y="2277315"/>
            <a:ext cx="8684293" cy="2377370"/>
          </a:xfrm>
          <a:prstGeom prst="rect">
            <a:avLst/>
          </a:prstGeom>
          <a:solidFill>
            <a:srgbClr val="0072C6"/>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lIns="121870" tIns="121870" rIns="45706" bIns="45706" rtlCol="0" anchor="t" anchorCtr="0"/>
          <a:lstStyle/>
          <a:p>
            <a:pPr algn="ct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Integration Runtime</a:t>
            </a:r>
          </a:p>
          <a:p>
            <a:pPr algn="ct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Activity Dispatch/Monitor (spark, copy, ml, </a:t>
            </a:r>
            <a:r>
              <a:rPr lang="en-US" sz="2799" b="1" err="1">
                <a:gradFill>
                  <a:gsLst>
                    <a:gs pos="0">
                      <a:srgbClr val="FFFFFF"/>
                    </a:gs>
                    <a:gs pos="100000">
                      <a:srgbClr val="FFFFFF"/>
                    </a:gs>
                  </a:gsLst>
                  <a:lin ang="5400000" scaled="0"/>
                </a:gradFill>
                <a:latin typeface="Segoe UI"/>
                <a:ea typeface="Segoe UI" pitchFamily="34" charset="0"/>
                <a:cs typeface="Segoe UI" pitchFamily="34" charset="0"/>
              </a:rPr>
              <a:t>etc</a:t>
            </a:r>
            <a:r>
              <a:rPr lang="en-US" sz="2799" b="1">
                <a:gradFill>
                  <a:gsLst>
                    <a:gs pos="0">
                      <a:srgbClr val="FFFFFF"/>
                    </a:gs>
                    <a:gs pos="100000">
                      <a:srgbClr val="FFFFFF"/>
                    </a:gs>
                  </a:gsLst>
                  <a:lin ang="5400000" scaled="0"/>
                </a:gradFill>
                <a:latin typeface="Segoe UI"/>
                <a:ea typeface="Segoe UI" pitchFamily="34" charset="0"/>
                <a:cs typeface="Segoe UI" pitchFamily="34" charset="0"/>
              </a:rPr>
              <a:t>)</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Data Movement </a:t>
            </a:r>
          </a:p>
          <a:p>
            <a:pPr defTabSz="1242566">
              <a:defRPr/>
            </a:pPr>
            <a:r>
              <a:rPr lang="en-US" sz="2799" b="1">
                <a:gradFill>
                  <a:gsLst>
                    <a:gs pos="0">
                      <a:srgbClr val="FFFFFF"/>
                    </a:gs>
                    <a:gs pos="100000">
                      <a:srgbClr val="FFFFFF"/>
                    </a:gs>
                  </a:gsLst>
                  <a:lin ang="5400000" scaled="0"/>
                </a:gradFill>
                <a:latin typeface="Segoe UI"/>
                <a:ea typeface="Segoe UI" pitchFamily="34" charset="0"/>
                <a:cs typeface="Segoe UI" pitchFamily="34" charset="0"/>
              </a:rPr>
              <a:t>  - SSIS Package Execution</a:t>
            </a:r>
          </a:p>
          <a:p>
            <a:pPr defTabSz="1242566">
              <a:defRPr/>
            </a:pPr>
            <a:endParaRPr lang="en-US" sz="2799" b="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5420489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898F1A5-81B4-4D59-9D6C-55556B7127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1923" y="1530996"/>
            <a:ext cx="11341152" cy="4475670"/>
          </a:xfrm>
          <a:prstGeom prst="rect">
            <a:avLst/>
          </a:prstGeom>
        </p:spPr>
      </p:pic>
      <p:sp>
        <p:nvSpPr>
          <p:cNvPr id="8" name="Rectangle 7">
            <a:extLst>
              <a:ext uri="{FF2B5EF4-FFF2-40B4-BE49-F238E27FC236}">
                <a16:creationId xmlns:a16="http://schemas.microsoft.com/office/drawing/2014/main" id="{767378F3-44D2-4C0A-95F6-71AEDB878084}"/>
              </a:ext>
            </a:extLst>
          </p:cNvPr>
          <p:cNvSpPr/>
          <p:nvPr/>
        </p:nvSpPr>
        <p:spPr>
          <a:xfrm>
            <a:off x="2229177" y="452173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On-</a:t>
            </a:r>
            <a:r>
              <a:rPr lang="en-US" sz="900" err="1">
                <a:solidFill>
                  <a:prstClr val="black"/>
                </a:solidFill>
                <a:latin typeface="Calibri" panose="020F0502020204030204"/>
              </a:rPr>
              <a:t>prem</a:t>
            </a:r>
            <a:endParaRPr lang="en-US" sz="900">
              <a:solidFill>
                <a:prstClr val="black"/>
              </a:solidFill>
              <a:latin typeface="Calibri" panose="020F0502020204030204"/>
            </a:endParaRPr>
          </a:p>
        </p:txBody>
      </p:sp>
      <p:sp>
        <p:nvSpPr>
          <p:cNvPr id="2" name="Rectangle 1">
            <a:extLst>
              <a:ext uri="{FF2B5EF4-FFF2-40B4-BE49-F238E27FC236}">
                <a16:creationId xmlns:a16="http://schemas.microsoft.com/office/drawing/2014/main" id="{10D17FD7-B858-4299-967E-B953B8FFEC16}"/>
              </a:ext>
            </a:extLst>
          </p:cNvPr>
          <p:cNvSpPr/>
          <p:nvPr/>
        </p:nvSpPr>
        <p:spPr>
          <a:xfrm>
            <a:off x="2416136" y="3947911"/>
            <a:ext cx="1252663" cy="7448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3" name="Rectangle 2">
            <a:extLst>
              <a:ext uri="{FF2B5EF4-FFF2-40B4-BE49-F238E27FC236}">
                <a16:creationId xmlns:a16="http://schemas.microsoft.com/office/drawing/2014/main" id="{1DDC3820-23E4-45BC-8960-4DEC9F450A40}"/>
              </a:ext>
            </a:extLst>
          </p:cNvPr>
          <p:cNvSpPr/>
          <p:nvPr/>
        </p:nvSpPr>
        <p:spPr>
          <a:xfrm>
            <a:off x="8680811" y="3352823"/>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1" name="Rectangle 10">
            <a:extLst>
              <a:ext uri="{FF2B5EF4-FFF2-40B4-BE49-F238E27FC236}">
                <a16:creationId xmlns:a16="http://schemas.microsoft.com/office/drawing/2014/main" id="{A43E1B47-6C1F-4996-89B4-BB2B1F920FE8}"/>
              </a:ext>
            </a:extLst>
          </p:cNvPr>
          <p:cNvSpPr/>
          <p:nvPr/>
        </p:nvSpPr>
        <p:spPr>
          <a:xfrm>
            <a:off x="1057720" y="4766062"/>
            <a:ext cx="861881" cy="919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773135B3-D1F4-43E3-B2C1-062EDE4D9D4F}"/>
              </a:ext>
            </a:extLst>
          </p:cNvPr>
          <p:cNvSpPr/>
          <p:nvPr/>
        </p:nvSpPr>
        <p:spPr>
          <a:xfrm>
            <a:off x="1020943" y="190996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1</a:t>
            </a:r>
          </a:p>
        </p:txBody>
      </p:sp>
      <p:sp>
        <p:nvSpPr>
          <p:cNvPr id="14" name="Rectangle 13">
            <a:extLst>
              <a:ext uri="{FF2B5EF4-FFF2-40B4-BE49-F238E27FC236}">
                <a16:creationId xmlns:a16="http://schemas.microsoft.com/office/drawing/2014/main" id="{AE7EE4FE-AC90-4959-BB4F-A7879CD86143}"/>
              </a:ext>
            </a:extLst>
          </p:cNvPr>
          <p:cNvSpPr/>
          <p:nvPr/>
        </p:nvSpPr>
        <p:spPr>
          <a:xfrm>
            <a:off x="944050" y="2690364"/>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1 firewall border</a:t>
            </a:r>
          </a:p>
        </p:txBody>
      </p:sp>
      <p:sp>
        <p:nvSpPr>
          <p:cNvPr id="15" name="Rectangle 14">
            <a:extLst>
              <a:ext uri="{FF2B5EF4-FFF2-40B4-BE49-F238E27FC236}">
                <a16:creationId xmlns:a16="http://schemas.microsoft.com/office/drawing/2014/main" id="{194D7824-B03F-495E-9832-981BA9D79A50}"/>
              </a:ext>
            </a:extLst>
          </p:cNvPr>
          <p:cNvSpPr/>
          <p:nvPr/>
        </p:nvSpPr>
        <p:spPr>
          <a:xfrm>
            <a:off x="989430" y="4605825"/>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5" name="Title 4"/>
          <p:cNvSpPr>
            <a:spLocks noGrp="1"/>
          </p:cNvSpPr>
          <p:nvPr>
            <p:ph type="title"/>
          </p:nvPr>
        </p:nvSpPr>
        <p:spPr>
          <a:xfrm>
            <a:off x="269241" y="472569"/>
            <a:ext cx="11655840" cy="1188161"/>
          </a:xfrm>
        </p:spPr>
        <p:txBody>
          <a:bodyPr>
            <a:normAutofit/>
          </a:bodyPr>
          <a:lstStyle/>
          <a:p>
            <a:r>
              <a:rPr lang="en-US" sz="2745" b="1"/>
              <a:t>Azure Data Factory “Integration Runtime” deployed on premises for transformation and then moved to cloud</a:t>
            </a:r>
            <a:endParaRPr lang="en-US" sz="5294" b="1"/>
          </a:p>
        </p:txBody>
      </p:sp>
    </p:spTree>
    <p:extLst>
      <p:ext uri="{BB962C8B-B14F-4D97-AF65-F5344CB8AC3E}">
        <p14:creationId xmlns:p14="http://schemas.microsoft.com/office/powerpoint/2010/main" val="447610472"/>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3274F8-31BE-45C4-8897-2DB2F10CEF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4374" y="1215949"/>
            <a:ext cx="11334747" cy="5290537"/>
          </a:xfrm>
          <a:prstGeom prst="rect">
            <a:avLst/>
          </a:prstGeom>
        </p:spPr>
      </p:pic>
      <p:sp>
        <p:nvSpPr>
          <p:cNvPr id="9" name="Rectangle 8">
            <a:extLst>
              <a:ext uri="{FF2B5EF4-FFF2-40B4-BE49-F238E27FC236}">
                <a16:creationId xmlns:a16="http://schemas.microsoft.com/office/drawing/2014/main" id="{970D5D57-ED98-47C5-9E9C-1BC86428E28C}"/>
              </a:ext>
            </a:extLst>
          </p:cNvPr>
          <p:cNvSpPr/>
          <p:nvPr/>
        </p:nvSpPr>
        <p:spPr>
          <a:xfrm>
            <a:off x="7144952" y="5123145"/>
            <a:ext cx="1477546" cy="17102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049">
              <a:defRPr/>
            </a:pPr>
            <a:r>
              <a:rPr lang="en-US" sz="900">
                <a:solidFill>
                  <a:prstClr val="black"/>
                </a:solidFill>
                <a:latin typeface="Calibri" panose="020F0502020204030204"/>
              </a:rPr>
              <a:t>ADF Foo in </a:t>
            </a:r>
            <a:r>
              <a:rPr lang="en-US" sz="900" err="1">
                <a:solidFill>
                  <a:prstClr val="black"/>
                </a:solidFill>
                <a:latin typeface="Calibri" panose="020F0502020204030204"/>
              </a:rPr>
              <a:t>vnet</a:t>
            </a:r>
            <a:endParaRPr lang="en-US" sz="900">
              <a:solidFill>
                <a:prstClr val="black"/>
              </a:solidFill>
              <a:latin typeface="Calibri" panose="020F0502020204030204"/>
            </a:endParaRPr>
          </a:p>
        </p:txBody>
      </p:sp>
      <p:sp>
        <p:nvSpPr>
          <p:cNvPr id="10" name="Rectangle 9">
            <a:extLst>
              <a:ext uri="{FF2B5EF4-FFF2-40B4-BE49-F238E27FC236}">
                <a16:creationId xmlns:a16="http://schemas.microsoft.com/office/drawing/2014/main" id="{DD21CD74-E0AE-4A42-A30E-DA2AE4C007D4}"/>
              </a:ext>
            </a:extLst>
          </p:cNvPr>
          <p:cNvSpPr/>
          <p:nvPr/>
        </p:nvSpPr>
        <p:spPr>
          <a:xfrm>
            <a:off x="7342783" y="4568913"/>
            <a:ext cx="1096360" cy="7252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400">
                <a:solidFill>
                  <a:prstClr val="white"/>
                </a:solidFill>
                <a:latin typeface="Calibri" panose="020F0502020204030204"/>
              </a:rPr>
              <a:t>“IR”</a:t>
            </a:r>
          </a:p>
        </p:txBody>
      </p:sp>
      <p:sp>
        <p:nvSpPr>
          <p:cNvPr id="11" name="Rectangle 10">
            <a:extLst>
              <a:ext uri="{FF2B5EF4-FFF2-40B4-BE49-F238E27FC236}">
                <a16:creationId xmlns:a16="http://schemas.microsoft.com/office/drawing/2014/main" id="{6FB0F544-6B26-4D6A-944D-45F114955E1B}"/>
              </a:ext>
            </a:extLst>
          </p:cNvPr>
          <p:cNvSpPr/>
          <p:nvPr/>
        </p:nvSpPr>
        <p:spPr>
          <a:xfrm>
            <a:off x="999929" y="2415937"/>
            <a:ext cx="1434535"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a:solidFill>
                  <a:prstClr val="black"/>
                </a:solidFill>
                <a:latin typeface="Calibri" panose="020F0502020204030204"/>
              </a:rPr>
              <a:t>Customer 2</a:t>
            </a:r>
          </a:p>
        </p:txBody>
      </p:sp>
      <p:sp>
        <p:nvSpPr>
          <p:cNvPr id="12" name="Rectangle 11">
            <a:extLst>
              <a:ext uri="{FF2B5EF4-FFF2-40B4-BE49-F238E27FC236}">
                <a16:creationId xmlns:a16="http://schemas.microsoft.com/office/drawing/2014/main" id="{693566E8-373D-4CAD-B3DE-0CFE70E5CF3D}"/>
              </a:ext>
            </a:extLst>
          </p:cNvPr>
          <p:cNvSpPr/>
          <p:nvPr/>
        </p:nvSpPr>
        <p:spPr>
          <a:xfrm>
            <a:off x="1078735" y="5294165"/>
            <a:ext cx="772292" cy="833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3" name="Rectangle 12">
            <a:extLst>
              <a:ext uri="{FF2B5EF4-FFF2-40B4-BE49-F238E27FC236}">
                <a16:creationId xmlns:a16="http://schemas.microsoft.com/office/drawing/2014/main" id="{64B593D3-560B-4179-B559-28721BACFA27}"/>
              </a:ext>
            </a:extLst>
          </p:cNvPr>
          <p:cNvSpPr/>
          <p:nvPr/>
        </p:nvSpPr>
        <p:spPr>
          <a:xfrm>
            <a:off x="847572" y="3718455"/>
            <a:ext cx="158689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firewall border</a:t>
            </a:r>
          </a:p>
        </p:txBody>
      </p:sp>
      <p:sp>
        <p:nvSpPr>
          <p:cNvPr id="14" name="Rectangle 13">
            <a:extLst>
              <a:ext uri="{FF2B5EF4-FFF2-40B4-BE49-F238E27FC236}">
                <a16:creationId xmlns:a16="http://schemas.microsoft.com/office/drawing/2014/main" id="{4D88E725-1855-43B0-8CE1-1EC6132A9C49}"/>
              </a:ext>
            </a:extLst>
          </p:cNvPr>
          <p:cNvSpPr/>
          <p:nvPr/>
        </p:nvSpPr>
        <p:spPr>
          <a:xfrm>
            <a:off x="7073186" y="4264716"/>
            <a:ext cx="747937"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black"/>
                </a:solidFill>
                <a:latin typeface="Calibri" panose="020F0502020204030204"/>
              </a:rPr>
              <a:t>Customer 2 </a:t>
            </a:r>
            <a:r>
              <a:rPr lang="en-US" sz="1000" err="1">
                <a:solidFill>
                  <a:prstClr val="black"/>
                </a:solidFill>
                <a:latin typeface="Calibri" panose="020F0502020204030204"/>
              </a:rPr>
              <a:t>vnet</a:t>
            </a:r>
            <a:endParaRPr lang="en-US" sz="1000">
              <a:solidFill>
                <a:prstClr val="black"/>
              </a:solidFill>
              <a:latin typeface="Calibri" panose="020F0502020204030204"/>
            </a:endParaRPr>
          </a:p>
        </p:txBody>
      </p:sp>
      <p:sp>
        <p:nvSpPr>
          <p:cNvPr id="15" name="Rectangle 14">
            <a:extLst>
              <a:ext uri="{FF2B5EF4-FFF2-40B4-BE49-F238E27FC236}">
                <a16:creationId xmlns:a16="http://schemas.microsoft.com/office/drawing/2014/main" id="{BA350B9A-9C7F-4030-8551-C59A4F90A61D}"/>
              </a:ext>
            </a:extLst>
          </p:cNvPr>
          <p:cNvSpPr/>
          <p:nvPr/>
        </p:nvSpPr>
        <p:spPr>
          <a:xfrm>
            <a:off x="856108" y="5123146"/>
            <a:ext cx="287641" cy="160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AEE5F042-C592-4C4D-B18F-907EA7B1C509}"/>
              </a:ext>
            </a:extLst>
          </p:cNvPr>
          <p:cNvSpPr/>
          <p:nvPr/>
        </p:nvSpPr>
        <p:spPr>
          <a:xfrm>
            <a:off x="8701828" y="2890500"/>
            <a:ext cx="861881" cy="273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prstClr val="white"/>
              </a:solidFill>
              <a:latin typeface="Calibri" panose="020F0502020204030204"/>
            </a:endParaRPr>
          </a:p>
        </p:txBody>
      </p:sp>
      <p:sp>
        <p:nvSpPr>
          <p:cNvPr id="2" name="Title 1"/>
          <p:cNvSpPr>
            <a:spLocks noGrp="1"/>
          </p:cNvSpPr>
          <p:nvPr>
            <p:ph type="title"/>
          </p:nvPr>
        </p:nvSpPr>
        <p:spPr/>
        <p:txBody>
          <a:bodyPr>
            <a:normAutofit/>
          </a:bodyPr>
          <a:lstStyle/>
          <a:p>
            <a:r>
              <a:rPr lang="en-US" sz="3137" b="1"/>
              <a:t>Azure Data Factory “Integration Runtime” deployed inside </a:t>
            </a:r>
            <a:r>
              <a:rPr lang="en-US" sz="3137" b="1" err="1"/>
              <a:t>VNet</a:t>
            </a:r>
            <a:endParaRPr lang="en-US" sz="5882" b="1"/>
          </a:p>
        </p:txBody>
      </p:sp>
    </p:spTree>
    <p:extLst>
      <p:ext uri="{BB962C8B-B14F-4D97-AF65-F5344CB8AC3E}">
        <p14:creationId xmlns:p14="http://schemas.microsoft.com/office/powerpoint/2010/main" val="366158897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zure Analysis Services</a:t>
            </a:r>
          </a:p>
          <a:p>
            <a:pPr>
              <a:spcBef>
                <a:spcPct val="0"/>
              </a:spcBef>
            </a:pPr>
            <a:r>
              <a:rPr lang="en-US" sz="3137" dirty="0">
                <a:gradFill>
                  <a:gsLst>
                    <a:gs pos="1250">
                      <a:schemeClr val="tx2"/>
                    </a:gs>
                    <a:gs pos="100000">
                      <a:schemeClr val="tx2"/>
                    </a:gs>
                  </a:gsLst>
                  <a:lin ang="5400000" scaled="0"/>
                </a:gradFill>
              </a:rPr>
              <a:t>Enterprise grade analytics engine as a service</a:t>
            </a:r>
          </a:p>
        </p:txBody>
      </p:sp>
      <p:sp>
        <p:nvSpPr>
          <p:cNvPr id="160" name="TextBox 159"/>
          <p:cNvSpPr txBox="1"/>
          <p:nvPr/>
        </p:nvSpPr>
        <p:spPr>
          <a:xfrm>
            <a:off x="694112" y="4010764"/>
            <a:ext cx="2155249"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Build rich semantic models</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Transform complex data into business user friendly semantic models</a:t>
            </a:r>
          </a:p>
        </p:txBody>
      </p:sp>
      <p:sp>
        <p:nvSpPr>
          <p:cNvPr id="161" name="TextBox 160"/>
          <p:cNvSpPr txBox="1"/>
          <p:nvPr/>
        </p:nvSpPr>
        <p:spPr>
          <a:xfrm>
            <a:off x="3584966" y="4010763"/>
            <a:ext cx="2268464" cy="1603172"/>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Gain insights at the speed of thought</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Gain instant insights with in-memory cache using your preferred visualization tools </a:t>
            </a:r>
          </a:p>
        </p:txBody>
      </p:sp>
      <p:grpSp>
        <p:nvGrpSpPr>
          <p:cNvPr id="4" name="Group 3"/>
          <p:cNvGrpSpPr/>
          <p:nvPr/>
        </p:nvGrpSpPr>
        <p:grpSpPr>
          <a:xfrm>
            <a:off x="3587421" y="2210898"/>
            <a:ext cx="1384594" cy="1384594"/>
            <a:chOff x="9301751" y="2254735"/>
            <a:chExt cx="1412358" cy="1412358"/>
          </a:xfrm>
        </p:grpSpPr>
        <p:sp>
          <p:nvSpPr>
            <p:cNvPr id="27" name="Oval 26"/>
            <p:cNvSpPr/>
            <p:nvPr/>
          </p:nvSpPr>
          <p:spPr bwMode="auto">
            <a:xfrm>
              <a:off x="9301751"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179" name="Group 178"/>
            <p:cNvGrpSpPr/>
            <p:nvPr/>
          </p:nvGrpSpPr>
          <p:grpSpPr>
            <a:xfrm>
              <a:off x="9642289" y="2665588"/>
              <a:ext cx="731283" cy="590653"/>
              <a:chOff x="9722329" y="2521754"/>
              <a:chExt cx="1155675" cy="933431"/>
            </a:xfrm>
          </p:grpSpPr>
          <p:sp>
            <p:nvSpPr>
              <p:cNvPr id="18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18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2" name="Group 181"/>
              <p:cNvGrpSpPr/>
              <p:nvPr/>
            </p:nvGrpSpPr>
            <p:grpSpPr>
              <a:xfrm>
                <a:off x="9722329" y="2871605"/>
                <a:ext cx="584013" cy="583580"/>
                <a:chOff x="9651050" y="2802005"/>
                <a:chExt cx="660577" cy="660087"/>
              </a:xfrm>
            </p:grpSpPr>
            <p:sp>
              <p:nvSpPr>
                <p:cNvPr id="183" name="Oval 18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9" name="Group 8"/>
          <p:cNvGrpSpPr/>
          <p:nvPr/>
        </p:nvGrpSpPr>
        <p:grpSpPr>
          <a:xfrm>
            <a:off x="787795" y="2210898"/>
            <a:ext cx="1384594" cy="1384594"/>
            <a:chOff x="613918" y="2254735"/>
            <a:chExt cx="1412358" cy="1412358"/>
          </a:xfrm>
        </p:grpSpPr>
        <p:sp>
          <p:nvSpPr>
            <p:cNvPr id="25" name="Oval 24"/>
            <p:cNvSpPr/>
            <p:nvPr/>
          </p:nvSpPr>
          <p:spPr bwMode="auto">
            <a:xfrm>
              <a:off x="613918"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8" name="Picture 7"/>
            <p:cNvPicPr>
              <a:picLocks noChangeAspect="1"/>
            </p:cNvPicPr>
            <p:nvPr/>
          </p:nvPicPr>
          <p:blipFill>
            <a:blip r:embed="rId3">
              <a:duotone>
                <a:schemeClr val="accent5">
                  <a:shade val="45000"/>
                  <a:satMod val="135000"/>
                </a:schemeClr>
                <a:prstClr val="white"/>
              </a:duotone>
            </a:blip>
            <a:stretch>
              <a:fillRect/>
            </a:stretch>
          </p:blipFill>
          <p:spPr>
            <a:xfrm>
              <a:off x="936579" y="2654379"/>
              <a:ext cx="830098" cy="644601"/>
            </a:xfrm>
            <a:prstGeom prst="rect">
              <a:avLst/>
            </a:prstGeom>
          </p:spPr>
        </p:pic>
      </p:grpSp>
      <p:sp>
        <p:nvSpPr>
          <p:cNvPr id="44" name="TextBox 43"/>
          <p:cNvSpPr txBox="1"/>
          <p:nvPr/>
        </p:nvSpPr>
        <p:spPr>
          <a:xfrm>
            <a:off x="6589034" y="4010764"/>
            <a:ext cx="2039726" cy="1385929"/>
          </a:xfrm>
          <a:prstGeom prst="rect">
            <a:avLst/>
          </a:prstGeom>
          <a:noFill/>
        </p:spPr>
        <p:txBody>
          <a:bodyPr wrap="square" rtlCol="0">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en </a:t>
            </a:r>
            <a:b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b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technology</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Based on powerful,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proven SQL Server Analysis Services</a:t>
            </a:r>
          </a:p>
        </p:txBody>
      </p:sp>
      <p:grpSp>
        <p:nvGrpSpPr>
          <p:cNvPr id="45" name="Group 44"/>
          <p:cNvGrpSpPr/>
          <p:nvPr/>
        </p:nvGrpSpPr>
        <p:grpSpPr>
          <a:xfrm>
            <a:off x="6589034" y="2210898"/>
            <a:ext cx="1384594" cy="1384594"/>
            <a:chOff x="3440105" y="2254735"/>
            <a:chExt cx="1412358" cy="1412358"/>
          </a:xfrm>
        </p:grpSpPr>
        <p:sp>
          <p:nvSpPr>
            <p:cNvPr id="46" name="Oval 45"/>
            <p:cNvSpPr/>
            <p:nvPr/>
          </p:nvSpPr>
          <p:spPr bwMode="auto">
            <a:xfrm>
              <a:off x="3440105"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47" name="Group 46"/>
            <p:cNvGrpSpPr/>
            <p:nvPr/>
          </p:nvGrpSpPr>
          <p:grpSpPr>
            <a:xfrm>
              <a:off x="3799868" y="2657362"/>
              <a:ext cx="692832" cy="607105"/>
              <a:chOff x="1227214" y="2470104"/>
              <a:chExt cx="1040050" cy="911361"/>
            </a:xfrm>
          </p:grpSpPr>
          <p:sp>
            <p:nvSpPr>
              <p:cNvPr id="48" name="Freeform 39"/>
              <p:cNvSpPr>
                <a:spLocks/>
              </p:cNvSpPr>
              <p:nvPr/>
            </p:nvSpPr>
            <p:spPr bwMode="auto">
              <a:xfrm>
                <a:off x="1483794" y="2470104"/>
                <a:ext cx="783470" cy="855478"/>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noAutofit/>
              </a:bodyPr>
              <a:lstStyle/>
              <a:p>
                <a:pPr defTabSz="896214">
                  <a:defRPr/>
                </a:pPr>
                <a:endParaRPr lang="en-US" sz="1765" kern="0">
                  <a:solidFill>
                    <a:sysClr val="windowText" lastClr="000000"/>
                  </a:solidFill>
                  <a:latin typeface="Segoe UI"/>
                </a:endParaRPr>
              </a:p>
            </p:txBody>
          </p:sp>
          <p:grpSp>
            <p:nvGrpSpPr>
              <p:cNvPr id="49" name="Group 48"/>
              <p:cNvGrpSpPr/>
              <p:nvPr/>
            </p:nvGrpSpPr>
            <p:grpSpPr>
              <a:xfrm>
                <a:off x="1227214" y="2929560"/>
                <a:ext cx="451905" cy="451905"/>
                <a:chOff x="1208013" y="2916080"/>
                <a:chExt cx="493121" cy="493121"/>
              </a:xfrm>
            </p:grpSpPr>
            <p:sp>
              <p:nvSpPr>
                <p:cNvPr id="50" name="Oval 49"/>
                <p:cNvSpPr/>
                <p:nvPr/>
              </p:nvSpPr>
              <p:spPr>
                <a:xfrm>
                  <a:off x="1208013" y="2916080"/>
                  <a:ext cx="493121" cy="493121"/>
                </a:xfrm>
                <a:prstGeom prst="ellipse">
                  <a:avLst/>
                </a:prstGeom>
                <a:solidFill>
                  <a:schemeClr val="bg1"/>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51" name="Freeform: Shape 50"/>
                <p:cNvSpPr/>
                <p:nvPr/>
              </p:nvSpPr>
              <p:spPr bwMode="auto">
                <a:xfrm rot="284808">
                  <a:off x="1302739" y="3041745"/>
                  <a:ext cx="300855" cy="275479"/>
                </a:xfrm>
                <a:custGeom>
                  <a:avLst/>
                  <a:gdLst>
                    <a:gd name="connsiteX0" fmla="*/ 0 w 1847088"/>
                    <a:gd name="connsiteY0" fmla="*/ 1045464 h 1706880"/>
                    <a:gd name="connsiteX1" fmla="*/ 225552 w 1847088"/>
                    <a:gd name="connsiteY1" fmla="*/ 722376 h 1706880"/>
                    <a:gd name="connsiteX2" fmla="*/ 749808 w 1847088"/>
                    <a:gd name="connsiteY2" fmla="*/ 1179576 h 1706880"/>
                    <a:gd name="connsiteX3" fmla="*/ 1539240 w 1847088"/>
                    <a:gd name="connsiteY3" fmla="*/ 0 h 1706880"/>
                    <a:gd name="connsiteX4" fmla="*/ 1847088 w 1847088"/>
                    <a:gd name="connsiteY4" fmla="*/ 210312 h 1706880"/>
                    <a:gd name="connsiteX5" fmla="*/ 816864 w 1847088"/>
                    <a:gd name="connsiteY5" fmla="*/ 1706880 h 1706880"/>
                    <a:gd name="connsiteX6" fmla="*/ 0 w 1847088"/>
                    <a:gd name="connsiteY6" fmla="*/ 1045464 h 1706880"/>
                    <a:gd name="connsiteX0" fmla="*/ 0 w 1909753"/>
                    <a:gd name="connsiteY0" fmla="*/ 1045464 h 1706880"/>
                    <a:gd name="connsiteX1" fmla="*/ 225552 w 1909753"/>
                    <a:gd name="connsiteY1" fmla="*/ 722376 h 1706880"/>
                    <a:gd name="connsiteX2" fmla="*/ 749808 w 1909753"/>
                    <a:gd name="connsiteY2" fmla="*/ 1179576 h 1706880"/>
                    <a:gd name="connsiteX3" fmla="*/ 1539240 w 1909753"/>
                    <a:gd name="connsiteY3" fmla="*/ 0 h 1706880"/>
                    <a:gd name="connsiteX4" fmla="*/ 1909753 w 1909753"/>
                    <a:gd name="connsiteY4" fmla="*/ 252087 h 1706880"/>
                    <a:gd name="connsiteX5" fmla="*/ 816864 w 1909753"/>
                    <a:gd name="connsiteY5" fmla="*/ 1706880 h 1706880"/>
                    <a:gd name="connsiteX6" fmla="*/ 0 w 1909753"/>
                    <a:gd name="connsiteY6" fmla="*/ 1045464 h 1706880"/>
                    <a:gd name="connsiteX0" fmla="*/ 0 w 1909753"/>
                    <a:gd name="connsiteY0" fmla="*/ 1014131 h 1675547"/>
                    <a:gd name="connsiteX1" fmla="*/ 225552 w 1909753"/>
                    <a:gd name="connsiteY1" fmla="*/ 691043 h 1675547"/>
                    <a:gd name="connsiteX2" fmla="*/ 749808 w 1909753"/>
                    <a:gd name="connsiteY2" fmla="*/ 1148243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1014131 h 1675547"/>
                    <a:gd name="connsiteX1" fmla="*/ 225552 w 1909753"/>
                    <a:gd name="connsiteY1" fmla="*/ 691043 h 1675547"/>
                    <a:gd name="connsiteX2" fmla="*/ 802444 w 1909753"/>
                    <a:gd name="connsiteY2" fmla="*/ 1195620 h 1675547"/>
                    <a:gd name="connsiteX3" fmla="*/ 1591461 w 1909753"/>
                    <a:gd name="connsiteY3" fmla="*/ 0 h 1675547"/>
                    <a:gd name="connsiteX4" fmla="*/ 1909753 w 1909753"/>
                    <a:gd name="connsiteY4" fmla="*/ 220754 h 1675547"/>
                    <a:gd name="connsiteX5" fmla="*/ 816864 w 1909753"/>
                    <a:gd name="connsiteY5" fmla="*/ 1675547 h 1675547"/>
                    <a:gd name="connsiteX6" fmla="*/ 0 w 1909753"/>
                    <a:gd name="connsiteY6" fmla="*/ 1014131 h 1675547"/>
                    <a:gd name="connsiteX0" fmla="*/ 0 w 1909753"/>
                    <a:gd name="connsiteY0" fmla="*/ 972024 h 1633440"/>
                    <a:gd name="connsiteX1" fmla="*/ 225552 w 1909753"/>
                    <a:gd name="connsiteY1" fmla="*/ 648936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909753"/>
                    <a:gd name="connsiteY0" fmla="*/ 972024 h 1633440"/>
                    <a:gd name="connsiteX1" fmla="*/ 299244 w 1909753"/>
                    <a:gd name="connsiteY1" fmla="*/ 727893 h 1633440"/>
                    <a:gd name="connsiteX2" fmla="*/ 802444 w 1909753"/>
                    <a:gd name="connsiteY2" fmla="*/ 1153513 h 1633440"/>
                    <a:gd name="connsiteX3" fmla="*/ 1628307 w 1909753"/>
                    <a:gd name="connsiteY3" fmla="*/ 0 h 1633440"/>
                    <a:gd name="connsiteX4" fmla="*/ 1909753 w 1909753"/>
                    <a:gd name="connsiteY4" fmla="*/ 178647 h 1633440"/>
                    <a:gd name="connsiteX5" fmla="*/ 816864 w 1909753"/>
                    <a:gd name="connsiteY5" fmla="*/ 1633440 h 1633440"/>
                    <a:gd name="connsiteX6" fmla="*/ 0 w 1909753"/>
                    <a:gd name="connsiteY6" fmla="*/ 972024 h 1633440"/>
                    <a:gd name="connsiteX0" fmla="*/ 0 w 1820270"/>
                    <a:gd name="connsiteY0" fmla="*/ 1040452 h 1633440"/>
                    <a:gd name="connsiteX1" fmla="*/ 209761 w 1820270"/>
                    <a:gd name="connsiteY1" fmla="*/ 727893 h 1633440"/>
                    <a:gd name="connsiteX2" fmla="*/ 712961 w 1820270"/>
                    <a:gd name="connsiteY2" fmla="*/ 1153513 h 1633440"/>
                    <a:gd name="connsiteX3" fmla="*/ 1538824 w 1820270"/>
                    <a:gd name="connsiteY3" fmla="*/ 0 h 1633440"/>
                    <a:gd name="connsiteX4" fmla="*/ 1820270 w 1820270"/>
                    <a:gd name="connsiteY4" fmla="*/ 178647 h 1633440"/>
                    <a:gd name="connsiteX5" fmla="*/ 727381 w 1820270"/>
                    <a:gd name="connsiteY5" fmla="*/ 1633440 h 1633440"/>
                    <a:gd name="connsiteX6" fmla="*/ 0 w 1820270"/>
                    <a:gd name="connsiteY6" fmla="*/ 1040452 h 1633440"/>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811604 w 1820270"/>
                    <a:gd name="connsiteY5" fmla="*/ 1628175 h 1628175"/>
                    <a:gd name="connsiteX6" fmla="*/ 0 w 1820270"/>
                    <a:gd name="connsiteY6" fmla="*/ 1040452 h 1628175"/>
                    <a:gd name="connsiteX0" fmla="*/ 0 w 1820270"/>
                    <a:gd name="connsiteY0" fmla="*/ 1040452 h 1628175"/>
                    <a:gd name="connsiteX1" fmla="*/ 209761 w 1820270"/>
                    <a:gd name="connsiteY1" fmla="*/ 727893 h 1628175"/>
                    <a:gd name="connsiteX2" fmla="*/ 712961 w 1820270"/>
                    <a:gd name="connsiteY2" fmla="*/ 1153513 h 1628175"/>
                    <a:gd name="connsiteX3" fmla="*/ 1538824 w 1820270"/>
                    <a:gd name="connsiteY3" fmla="*/ 0 h 1628175"/>
                    <a:gd name="connsiteX4" fmla="*/ 1820270 w 1820270"/>
                    <a:gd name="connsiteY4" fmla="*/ 178647 h 1628175"/>
                    <a:gd name="connsiteX5" fmla="*/ 785288 w 1820270"/>
                    <a:gd name="connsiteY5" fmla="*/ 1628175 h 1628175"/>
                    <a:gd name="connsiteX6" fmla="*/ 0 w 1820270"/>
                    <a:gd name="connsiteY6" fmla="*/ 1040452 h 1628175"/>
                    <a:gd name="connsiteX0" fmla="*/ 0 w 1778159"/>
                    <a:gd name="connsiteY0" fmla="*/ 1040452 h 1628175"/>
                    <a:gd name="connsiteX1" fmla="*/ 167650 w 1778159"/>
                    <a:gd name="connsiteY1" fmla="*/ 727893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 name="connsiteX0" fmla="*/ 0 w 1778159"/>
                    <a:gd name="connsiteY0" fmla="*/ 1040452 h 1628175"/>
                    <a:gd name="connsiteX1" fmla="*/ 172912 w 1778159"/>
                    <a:gd name="connsiteY1" fmla="*/ 764739 h 1628175"/>
                    <a:gd name="connsiteX2" fmla="*/ 670850 w 1778159"/>
                    <a:gd name="connsiteY2" fmla="*/ 1153513 h 1628175"/>
                    <a:gd name="connsiteX3" fmla="*/ 1496713 w 1778159"/>
                    <a:gd name="connsiteY3" fmla="*/ 0 h 1628175"/>
                    <a:gd name="connsiteX4" fmla="*/ 1778159 w 1778159"/>
                    <a:gd name="connsiteY4" fmla="*/ 178647 h 1628175"/>
                    <a:gd name="connsiteX5" fmla="*/ 743177 w 1778159"/>
                    <a:gd name="connsiteY5" fmla="*/ 1628175 h 1628175"/>
                    <a:gd name="connsiteX6" fmla="*/ 0 w 1778159"/>
                    <a:gd name="connsiteY6" fmla="*/ 1040452 h 162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159" h="1628175">
                      <a:moveTo>
                        <a:pt x="0" y="1040452"/>
                      </a:moveTo>
                      <a:lnTo>
                        <a:pt x="172912" y="764739"/>
                      </a:lnTo>
                      <a:lnTo>
                        <a:pt x="670850" y="1153513"/>
                      </a:lnTo>
                      <a:lnTo>
                        <a:pt x="1496713" y="0"/>
                      </a:lnTo>
                      <a:lnTo>
                        <a:pt x="1778159" y="178647"/>
                      </a:lnTo>
                      <a:lnTo>
                        <a:pt x="743177" y="1628175"/>
                      </a:lnTo>
                      <a:lnTo>
                        <a:pt x="0" y="1040452"/>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
        <p:nvSpPr>
          <p:cNvPr id="52" name="Rectangle 51"/>
          <p:cNvSpPr/>
          <p:nvPr/>
        </p:nvSpPr>
        <p:spPr>
          <a:xfrm>
            <a:off x="9364365" y="4010763"/>
            <a:ext cx="2202900" cy="1385929"/>
          </a:xfrm>
          <a:prstGeom prst="rect">
            <a:avLst/>
          </a:prstGeom>
        </p:spPr>
        <p:txBody>
          <a:bodyPr wrap="square">
            <a:spAutoFit/>
          </a:bodyPr>
          <a:lstStyle/>
          <a:p>
            <a:pPr defTabSz="914225">
              <a:lnSpc>
                <a:spcPct val="90000"/>
              </a:lnSpc>
              <a:spcAft>
                <a:spcPts val="600"/>
              </a:spcAft>
              <a:defRPr/>
            </a:pPr>
            <a:r>
              <a:rPr lang="en-US" sz="1961" b="1" kern="0" dirty="0">
                <a:gradFill>
                  <a:gsLst>
                    <a:gs pos="97177">
                      <a:srgbClr val="0078D7"/>
                    </a:gs>
                    <a:gs pos="85321">
                      <a:srgbClr val="0078D7"/>
                    </a:gs>
                  </a:gsLst>
                  <a:lin ang="0" scaled="0"/>
                </a:gradFill>
                <a:latin typeface="Segoe UI Semilight" panose="020B0402040204020203" pitchFamily="34" charset="0"/>
                <a:cs typeface="Segoe UI Semilight" panose="020B0402040204020203" pitchFamily="34" charset="0"/>
              </a:rPr>
              <a:t>Provision and scale with ease</a:t>
            </a:r>
          </a:p>
          <a:p>
            <a:pPr defTabSz="914225">
              <a:lnSpc>
                <a:spcPct val="90000"/>
              </a:lnSpc>
              <a:spcBef>
                <a:spcPts val="196"/>
              </a:spcBef>
              <a:defRPr/>
            </a:pP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Easy to deploy, scale, </a:t>
            </a:r>
            <a:b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br>
            <a:r>
              <a:rPr lang="en-US" sz="1568" kern="0" dirty="0">
                <a:gradFill>
                  <a:gsLst>
                    <a:gs pos="85321">
                      <a:srgbClr val="353535"/>
                    </a:gs>
                    <a:gs pos="57000">
                      <a:srgbClr val="353535"/>
                    </a:gs>
                  </a:gsLst>
                  <a:lin ang="0" scaled="0"/>
                </a:gradFill>
                <a:latin typeface="Segoe UI" panose="020B0502040204020203" pitchFamily="34" charset="0"/>
                <a:cs typeface="Segoe UI" panose="020B0502040204020203" pitchFamily="34" charset="0"/>
              </a:rPr>
              <a:t>and manage as  platform-as-a-service</a:t>
            </a:r>
          </a:p>
        </p:txBody>
      </p:sp>
      <p:grpSp>
        <p:nvGrpSpPr>
          <p:cNvPr id="53" name="Group 52"/>
          <p:cNvGrpSpPr/>
          <p:nvPr/>
        </p:nvGrpSpPr>
        <p:grpSpPr>
          <a:xfrm>
            <a:off x="9364364" y="2210898"/>
            <a:ext cx="1384594" cy="1384594"/>
            <a:chOff x="6531484" y="2254735"/>
            <a:chExt cx="1412358" cy="1412358"/>
          </a:xfrm>
        </p:grpSpPr>
        <p:sp>
          <p:nvSpPr>
            <p:cNvPr id="54" name="Oval 53"/>
            <p:cNvSpPr/>
            <p:nvPr/>
          </p:nvSpPr>
          <p:spPr bwMode="auto">
            <a:xfrm>
              <a:off x="6531484" y="2254735"/>
              <a:ext cx="1412358" cy="1412358"/>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55" name="Freeform 5"/>
            <p:cNvSpPr>
              <a:spLocks noChangeAspect="1" noEditPoints="1"/>
            </p:cNvSpPr>
            <p:nvPr/>
          </p:nvSpPr>
          <p:spPr bwMode="black">
            <a:xfrm>
              <a:off x="6833152" y="2709266"/>
              <a:ext cx="809022" cy="50329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lumMod val="50000"/>
              </a:schemeClr>
            </a:solidFill>
            <a:ln>
              <a:solidFill>
                <a:schemeClr val="bg2"/>
              </a:solidFill>
            </a:ln>
          </p:spPr>
          <p:txBody>
            <a:bodyPr vert="horz" wrap="square" lIns="47442" tIns="23721" rIns="47442" bIns="23721" numCol="1" anchor="t" anchorCtr="0" compatLnSpc="1">
              <a:prstTxWarp prst="textNoShape">
                <a:avLst/>
              </a:prstTxWarp>
            </a:bodyPr>
            <a:lstStyle/>
            <a:p>
              <a:pPr defTabSz="483878">
                <a:defRPr/>
              </a:pPr>
              <a:endParaRPr lang="en-US" sz="934" kern="0" dirty="0">
                <a:solidFill>
                  <a:srgbClr val="505050"/>
                </a:solidFill>
                <a:latin typeface="Segoe UI"/>
              </a:endParaRPr>
            </a:p>
          </p:txBody>
        </p:sp>
      </p:grpSp>
    </p:spTree>
    <p:extLst>
      <p:ext uri="{BB962C8B-B14F-4D97-AF65-F5344CB8AC3E}">
        <p14:creationId xmlns:p14="http://schemas.microsoft.com/office/powerpoint/2010/main" val="283867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SIS in ADF</a:t>
            </a:r>
          </a:p>
        </p:txBody>
      </p:sp>
    </p:spTree>
    <p:extLst>
      <p:ext uri="{BB962C8B-B14F-4D97-AF65-F5344CB8AC3E}">
        <p14:creationId xmlns:p14="http://schemas.microsoft.com/office/powerpoint/2010/main" val="3116125775"/>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24" y="154197"/>
            <a:ext cx="10514108" cy="1150945"/>
          </a:xfrm>
        </p:spPr>
        <p:txBody>
          <a:bodyPr>
            <a:normAutofit/>
          </a:bodyPr>
          <a:lstStyle/>
          <a:p>
            <a:r>
              <a:rPr lang="en-US" sz="3600" b="1"/>
              <a:t>SSIS as an Integration Runtime</a:t>
            </a:r>
            <a:endParaRPr lang="en-US" sz="3600"/>
          </a:p>
        </p:txBody>
      </p:sp>
      <p:grpSp>
        <p:nvGrpSpPr>
          <p:cNvPr id="27" name="Group 26"/>
          <p:cNvGrpSpPr/>
          <p:nvPr/>
        </p:nvGrpSpPr>
        <p:grpSpPr>
          <a:xfrm>
            <a:off x="275885" y="1486919"/>
            <a:ext cx="6644603" cy="5135646"/>
            <a:chOff x="2738762" y="1577679"/>
            <a:chExt cx="6777841" cy="5238626"/>
          </a:xfrm>
        </p:grpSpPr>
        <p:sp>
          <p:nvSpPr>
            <p:cNvPr id="28" name="TextBox 27"/>
            <p:cNvSpPr txBox="1"/>
            <p:nvPr/>
          </p:nvSpPr>
          <p:spPr>
            <a:xfrm>
              <a:off x="8101037" y="4413564"/>
              <a:ext cx="1350397" cy="282383"/>
            </a:xfrm>
            <a:prstGeom prst="rect">
              <a:avLst/>
            </a:prstGeom>
            <a:noFill/>
          </p:spPr>
          <p:txBody>
            <a:bodyPr wrap="square" rtlCol="0">
              <a:spAutoFit/>
            </a:bodyPr>
            <a:lstStyle/>
            <a:p>
              <a:pPr defTabSz="914367"/>
              <a:r>
                <a:rPr lang="en-US" sz="1175">
                  <a:solidFill>
                    <a:srgbClr val="353535"/>
                  </a:solidFill>
                  <a:latin typeface="Segoe UI Semilight"/>
                </a:rPr>
                <a:t>Execute/Manage</a:t>
              </a:r>
              <a:endParaRPr lang="en-US" sz="1765">
                <a:solidFill>
                  <a:srgbClr val="353535"/>
                </a:solidFill>
                <a:latin typeface="Segoe UI Semilight"/>
              </a:endParaRPr>
            </a:p>
          </p:txBody>
        </p:sp>
        <p:sp>
          <p:nvSpPr>
            <p:cNvPr id="29" name="TextBox 28"/>
            <p:cNvSpPr txBox="1"/>
            <p:nvPr/>
          </p:nvSpPr>
          <p:spPr>
            <a:xfrm>
              <a:off x="6885880" y="2761317"/>
              <a:ext cx="838340" cy="282383"/>
            </a:xfrm>
            <a:prstGeom prst="rect">
              <a:avLst/>
            </a:prstGeom>
            <a:noFill/>
          </p:spPr>
          <p:txBody>
            <a:bodyPr wrap="square" rtlCol="0">
              <a:spAutoFit/>
            </a:bodyPr>
            <a:lstStyle/>
            <a:p>
              <a:pPr defTabSz="914367"/>
              <a:r>
                <a:rPr lang="en-US" sz="1175">
                  <a:solidFill>
                    <a:srgbClr val="353535"/>
                  </a:solidFill>
                  <a:latin typeface="Segoe UI Semilight"/>
                </a:rPr>
                <a:t>Provision</a:t>
              </a:r>
              <a:endParaRPr lang="en-US" sz="1765">
                <a:solidFill>
                  <a:srgbClr val="353535"/>
                </a:solidFill>
                <a:latin typeface="Segoe UI Semilight"/>
              </a:endParaRPr>
            </a:p>
          </p:txBody>
        </p:sp>
        <p:cxnSp>
          <p:nvCxnSpPr>
            <p:cNvPr id="30" name="Straight Connector 29"/>
            <p:cNvCxnSpPr/>
            <p:nvPr/>
          </p:nvCxnSpPr>
          <p:spPr>
            <a:xfrm flipV="1">
              <a:off x="2844111" y="4183170"/>
              <a:ext cx="6672492" cy="43903"/>
            </a:xfrm>
            <a:prstGeom prst="line">
              <a:avLst/>
            </a:prstGeom>
            <a:ln w="25400">
              <a:solidFill>
                <a:srgbClr val="000000"/>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4111" y="4795724"/>
              <a:ext cx="1756835" cy="798447"/>
            </a:xfrm>
            <a:prstGeom prst="rect">
              <a:avLst/>
            </a:prstGeom>
          </p:spPr>
        </p:pic>
        <p:sp>
          <p:nvSpPr>
            <p:cNvPr id="32" name="TextBox 31"/>
            <p:cNvSpPr txBox="1"/>
            <p:nvPr/>
          </p:nvSpPr>
          <p:spPr>
            <a:xfrm>
              <a:off x="2844111" y="5621333"/>
              <a:ext cx="956147" cy="282383"/>
            </a:xfrm>
            <a:prstGeom prst="rect">
              <a:avLst/>
            </a:prstGeom>
            <a:noFill/>
          </p:spPr>
          <p:txBody>
            <a:bodyPr wrap="square" rtlCol="0">
              <a:spAutoFit/>
            </a:bodyPr>
            <a:lstStyle/>
            <a:p>
              <a:pPr defTabSz="914367"/>
              <a:r>
                <a:rPr lang="en-US" sz="1175" b="1">
                  <a:solidFill>
                    <a:srgbClr val="0078D7"/>
                  </a:solidFill>
                  <a:latin typeface="Segoe UI Semilight"/>
                </a:rPr>
                <a:t>SSDT</a:t>
              </a:r>
            </a:p>
          </p:txBody>
        </p:sp>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32184" y="4729964"/>
              <a:ext cx="1772218" cy="880041"/>
            </a:xfrm>
            <a:prstGeom prst="rect">
              <a:avLst/>
            </a:prstGeom>
          </p:spPr>
        </p:pic>
        <p:sp>
          <p:nvSpPr>
            <p:cNvPr id="34" name="TextBox 33"/>
            <p:cNvSpPr txBox="1"/>
            <p:nvPr/>
          </p:nvSpPr>
          <p:spPr>
            <a:xfrm>
              <a:off x="8203731" y="5594171"/>
              <a:ext cx="800672" cy="282383"/>
            </a:xfrm>
            <a:prstGeom prst="rect">
              <a:avLst/>
            </a:prstGeom>
            <a:noFill/>
          </p:spPr>
          <p:txBody>
            <a:bodyPr wrap="square" rtlCol="0">
              <a:spAutoFit/>
            </a:bodyPr>
            <a:lstStyle/>
            <a:p>
              <a:pPr algn="r" defTabSz="914367"/>
              <a:r>
                <a:rPr lang="en-US" sz="1175" b="1">
                  <a:solidFill>
                    <a:srgbClr val="0078D7"/>
                  </a:solidFill>
                  <a:latin typeface="Segoe UI Semilight"/>
                </a:rPr>
                <a:t>SSMS</a:t>
              </a:r>
            </a:p>
          </p:txBody>
        </p:sp>
        <p:sp>
          <p:nvSpPr>
            <p:cNvPr id="35" name="TextBox 34"/>
            <p:cNvSpPr txBox="1"/>
            <p:nvPr/>
          </p:nvSpPr>
          <p:spPr>
            <a:xfrm>
              <a:off x="2744771" y="3861202"/>
              <a:ext cx="1186950" cy="313772"/>
            </a:xfrm>
            <a:prstGeom prst="rect">
              <a:avLst/>
            </a:prstGeom>
            <a:noFill/>
          </p:spPr>
          <p:txBody>
            <a:bodyPr wrap="square" rtlCol="0">
              <a:spAutoFit/>
            </a:bodyPr>
            <a:lstStyle/>
            <a:p>
              <a:pPr defTabSz="914367"/>
              <a:r>
                <a:rPr lang="en-US" sz="1371" b="1">
                  <a:solidFill>
                    <a:srgbClr val="353535"/>
                  </a:solidFill>
                  <a:latin typeface="Segoe UI Semilight"/>
                </a:rPr>
                <a:t>Cloud</a:t>
              </a:r>
            </a:p>
          </p:txBody>
        </p:sp>
        <p:sp>
          <p:nvSpPr>
            <p:cNvPr id="36" name="TextBox 35"/>
            <p:cNvSpPr txBox="1"/>
            <p:nvPr/>
          </p:nvSpPr>
          <p:spPr>
            <a:xfrm>
              <a:off x="2738762" y="4225844"/>
              <a:ext cx="1186950" cy="307648"/>
            </a:xfrm>
            <a:prstGeom prst="rect">
              <a:avLst/>
            </a:prstGeom>
            <a:noFill/>
          </p:spPr>
          <p:txBody>
            <a:bodyPr wrap="square" rtlCol="0">
              <a:spAutoFit/>
            </a:bodyPr>
            <a:lstStyle/>
            <a:p>
              <a:pPr defTabSz="914367"/>
              <a:r>
                <a:rPr lang="en-US" sz="1371" b="1">
                  <a:solidFill>
                    <a:srgbClr val="353535"/>
                  </a:solidFill>
                  <a:latin typeface="Segoe UI Semilight"/>
                </a:rPr>
                <a:t>On-Premises</a:t>
              </a:r>
            </a:p>
          </p:txBody>
        </p:sp>
        <p:sp>
          <p:nvSpPr>
            <p:cNvPr id="38" name="TextBox 37"/>
            <p:cNvSpPr txBox="1"/>
            <p:nvPr/>
          </p:nvSpPr>
          <p:spPr>
            <a:xfrm rot="20393134">
              <a:off x="5039894" y="4432554"/>
              <a:ext cx="1197432" cy="282383"/>
            </a:xfrm>
            <a:prstGeom prst="rect">
              <a:avLst/>
            </a:prstGeom>
            <a:noFill/>
          </p:spPr>
          <p:txBody>
            <a:bodyPr wrap="square" rtlCol="0">
              <a:spAutoFit/>
            </a:bodyPr>
            <a:lstStyle/>
            <a:p>
              <a:pPr defTabSz="914367"/>
              <a:r>
                <a:rPr lang="en-US" sz="1175">
                  <a:solidFill>
                    <a:srgbClr val="353535"/>
                  </a:solidFill>
                  <a:latin typeface="Segoe UI Semilight"/>
                </a:rPr>
                <a:t>Author/Deploy</a:t>
              </a:r>
              <a:endParaRPr lang="en-US" sz="1765">
                <a:solidFill>
                  <a:srgbClr val="353535"/>
                </a:solidFill>
                <a:latin typeface="Segoe UI Semilight"/>
              </a:endParaRPr>
            </a:p>
          </p:txBody>
        </p:sp>
        <p:sp>
          <p:nvSpPr>
            <p:cNvPr id="39" name="Rectangle 38"/>
            <p:cNvSpPr/>
            <p:nvPr/>
          </p:nvSpPr>
          <p:spPr>
            <a:xfrm>
              <a:off x="5448165" y="5965302"/>
              <a:ext cx="1210787" cy="85100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1" b="1">
                  <a:solidFill>
                    <a:srgbClr val="353535"/>
                  </a:solidFill>
                  <a:latin typeface="Segoe UI Semilight"/>
                </a:rPr>
                <a:t>SSIS Server</a:t>
              </a:r>
            </a:p>
          </p:txBody>
        </p:sp>
        <p:cxnSp>
          <p:nvCxnSpPr>
            <p:cNvPr id="40" name="Straight Arrow Connector 39"/>
            <p:cNvCxnSpPr/>
            <p:nvPr/>
          </p:nvCxnSpPr>
          <p:spPr>
            <a:xfrm>
              <a:off x="3722528" y="5594173"/>
              <a:ext cx="1600183" cy="796631"/>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6744909" y="5610006"/>
              <a:ext cx="1373384" cy="780798"/>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1619402">
              <a:off x="3924581" y="6022408"/>
              <a:ext cx="1197432" cy="282383"/>
            </a:xfrm>
            <a:prstGeom prst="rect">
              <a:avLst/>
            </a:prstGeom>
            <a:noFill/>
          </p:spPr>
          <p:txBody>
            <a:bodyPr wrap="square" rtlCol="0">
              <a:spAutoFit/>
            </a:bodyPr>
            <a:lstStyle/>
            <a:p>
              <a:pPr defTabSz="914367"/>
              <a:r>
                <a:rPr lang="en-US" sz="1175">
                  <a:solidFill>
                    <a:srgbClr val="000000"/>
                  </a:solidFill>
                  <a:latin typeface="Segoe UI Semilight"/>
                </a:rPr>
                <a:t>Author/Deploy</a:t>
              </a:r>
              <a:endParaRPr lang="en-US" sz="1765">
                <a:solidFill>
                  <a:srgbClr val="000000"/>
                </a:solidFill>
                <a:latin typeface="Segoe UI Semilight"/>
              </a:endParaRPr>
            </a:p>
          </p:txBody>
        </p:sp>
        <p:sp>
          <p:nvSpPr>
            <p:cNvPr id="43" name="TextBox 42"/>
            <p:cNvSpPr txBox="1"/>
            <p:nvPr/>
          </p:nvSpPr>
          <p:spPr>
            <a:xfrm rot="19842393">
              <a:off x="6748558" y="5935558"/>
              <a:ext cx="1915665" cy="282383"/>
            </a:xfrm>
            <a:prstGeom prst="rect">
              <a:avLst/>
            </a:prstGeom>
            <a:noFill/>
          </p:spPr>
          <p:txBody>
            <a:bodyPr wrap="square" rtlCol="0">
              <a:spAutoFit/>
            </a:bodyPr>
            <a:lstStyle/>
            <a:p>
              <a:pPr defTabSz="914367"/>
              <a:r>
                <a:rPr lang="en-US" sz="1175">
                  <a:solidFill>
                    <a:srgbClr val="000000"/>
                  </a:solidFill>
                  <a:latin typeface="Segoe UI Semilight"/>
                </a:rPr>
                <a:t>Execute/Manage</a:t>
              </a:r>
              <a:endParaRPr lang="en-US" sz="1765">
                <a:solidFill>
                  <a:srgbClr val="000000"/>
                </a:solidFill>
                <a:latin typeface="Segoe UI Semilight"/>
              </a:endParaRPr>
            </a:p>
          </p:txBody>
        </p:sp>
        <p:pic>
          <p:nvPicPr>
            <p:cNvPr id="45" name="Picture 4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137485" y="2922269"/>
              <a:ext cx="1756737" cy="853598"/>
            </a:xfrm>
            <a:prstGeom prst="rect">
              <a:avLst/>
            </a:prstGeom>
          </p:spPr>
        </p:pic>
        <p:sp>
          <p:nvSpPr>
            <p:cNvPr id="46" name="TextBox 45"/>
            <p:cNvSpPr txBox="1"/>
            <p:nvPr/>
          </p:nvSpPr>
          <p:spPr>
            <a:xfrm>
              <a:off x="5137484" y="3779267"/>
              <a:ext cx="1748393" cy="276871"/>
            </a:xfrm>
            <a:prstGeom prst="rect">
              <a:avLst/>
            </a:prstGeom>
            <a:noFill/>
          </p:spPr>
          <p:txBody>
            <a:bodyPr wrap="square" rtlCol="0">
              <a:spAutoFit/>
            </a:bodyPr>
            <a:lstStyle/>
            <a:p>
              <a:pPr algn="ctr" defTabSz="914367"/>
              <a:r>
                <a:rPr lang="en-US" sz="1175" b="1">
                  <a:solidFill>
                    <a:srgbClr val="353535"/>
                  </a:solidFill>
                  <a:latin typeface="Segoe UI Semilight"/>
                </a:rPr>
                <a:t>Azure Data Factory V2</a:t>
              </a:r>
            </a:p>
          </p:txBody>
        </p:sp>
        <p:cxnSp>
          <p:nvCxnSpPr>
            <p:cNvPr id="47" name="Straight Arrow Connector 46"/>
            <p:cNvCxnSpPr/>
            <p:nvPr/>
          </p:nvCxnSpPr>
          <p:spPr>
            <a:xfrm flipV="1">
              <a:off x="4697509" y="3998045"/>
              <a:ext cx="3121948" cy="1144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8118293" y="3998045"/>
              <a:ext cx="8317" cy="731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937534" y="2993176"/>
              <a:ext cx="669038" cy="6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Cloud 49"/>
            <p:cNvSpPr/>
            <p:nvPr/>
          </p:nvSpPr>
          <p:spPr>
            <a:xfrm>
              <a:off x="4019279" y="2249595"/>
              <a:ext cx="44270" cy="4676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pic>
          <p:nvPicPr>
            <p:cNvPr id="51" name="Picture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87574" y="1890507"/>
              <a:ext cx="768488" cy="811695"/>
            </a:xfrm>
            <a:prstGeom prst="rect">
              <a:avLst/>
            </a:prstGeom>
          </p:spPr>
        </p:pic>
        <p:sp>
          <p:nvSpPr>
            <p:cNvPr id="52" name="TextBox 51"/>
            <p:cNvSpPr txBox="1"/>
            <p:nvPr/>
          </p:nvSpPr>
          <p:spPr>
            <a:xfrm>
              <a:off x="4087575" y="2703703"/>
              <a:ext cx="768489" cy="313772"/>
            </a:xfrm>
            <a:prstGeom prst="rect">
              <a:avLst/>
            </a:prstGeom>
            <a:noFill/>
          </p:spPr>
          <p:txBody>
            <a:bodyPr wrap="square" rtlCol="0">
              <a:spAutoFit/>
            </a:bodyPr>
            <a:lstStyle/>
            <a:p>
              <a:pPr algn="ctr" defTabSz="914367"/>
              <a:r>
                <a:rPr lang="en-US" sz="1371" b="1">
                  <a:solidFill>
                    <a:srgbClr val="353535"/>
                  </a:solidFill>
                  <a:latin typeface="Segoe UI Semilight"/>
                </a:rPr>
                <a:t>HDI</a:t>
              </a:r>
            </a:p>
          </p:txBody>
        </p:sp>
        <p:pic>
          <p:nvPicPr>
            <p:cNvPr id="54" name="Picture 53"/>
            <p:cNvPicPr>
              <a:picLocks noChangeAspect="1"/>
            </p:cNvPicPr>
            <p:nvPr/>
          </p:nvPicPr>
          <p:blipFill>
            <a:blip r:embed="rId7"/>
            <a:stretch>
              <a:fillRect/>
            </a:stretch>
          </p:blipFill>
          <p:spPr>
            <a:xfrm>
              <a:off x="5332254" y="1577679"/>
              <a:ext cx="809510" cy="799987"/>
            </a:xfrm>
            <a:prstGeom prst="rect">
              <a:avLst/>
            </a:prstGeom>
          </p:spPr>
        </p:pic>
        <p:sp>
          <p:nvSpPr>
            <p:cNvPr id="56" name="Rectangle 55"/>
            <p:cNvSpPr/>
            <p:nvPr/>
          </p:nvSpPr>
          <p:spPr>
            <a:xfrm>
              <a:off x="5332254" y="2387850"/>
              <a:ext cx="809510" cy="313772"/>
            </a:xfrm>
            <a:prstGeom prst="rect">
              <a:avLst/>
            </a:prstGeom>
          </p:spPr>
          <p:txBody>
            <a:bodyPr wrap="square">
              <a:spAutoFit/>
            </a:bodyPr>
            <a:lstStyle/>
            <a:p>
              <a:pPr algn="ctr" defTabSz="914367"/>
              <a:r>
                <a:rPr lang="en-US" sz="1371" b="1">
                  <a:solidFill>
                    <a:srgbClr val="353535"/>
                  </a:solidFill>
                  <a:latin typeface="Segoe UI Semilight"/>
                </a:rPr>
                <a:t>ML</a:t>
              </a:r>
            </a:p>
          </p:txBody>
        </p:sp>
      </p:grpSp>
      <p:sp>
        <p:nvSpPr>
          <p:cNvPr id="57" name="Text Placeholder 2"/>
          <p:cNvSpPr txBox="1">
            <a:spLocks/>
          </p:cNvSpPr>
          <p:nvPr/>
        </p:nvSpPr>
        <p:spPr>
          <a:xfrm>
            <a:off x="7001348" y="1042004"/>
            <a:ext cx="4863549" cy="452589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lvl="1" indent="-224097" defTabSz="914367"/>
            <a:r>
              <a:rPr lang="en-US" sz="1765">
                <a:solidFill>
                  <a:srgbClr val="0070C0"/>
                </a:solidFill>
                <a:latin typeface="Segoe UI Semilight"/>
              </a:rPr>
              <a:t>Provision SSIS IR via Data Factory</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Data Tools (</a:t>
            </a:r>
            <a:r>
              <a:rPr lang="en-US" sz="1765" b="1">
                <a:solidFill>
                  <a:srgbClr val="0070C0"/>
                </a:solidFill>
                <a:latin typeface="Segoe UI Semilight"/>
              </a:rPr>
              <a:t>SSDT</a:t>
            </a:r>
            <a:r>
              <a:rPr lang="en-US" sz="1765">
                <a:solidFill>
                  <a:srgbClr val="0070C0"/>
                </a:solidFill>
                <a:latin typeface="Segoe UI Semilight"/>
              </a:rPr>
              <a:t>) to author/deploy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Use SQL Server Management Studio (SSMS) to execute/manage SSIS packages</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Target SSIS customers who want to move all/part of their on-premises workloads and just “lift &amp; shift” many existing packages to Azure</a:t>
            </a:r>
          </a:p>
          <a:p>
            <a:pPr marL="448193" lvl="1" indent="-224097" defTabSz="914367"/>
            <a:endParaRPr lang="en-US" sz="1765">
              <a:solidFill>
                <a:srgbClr val="0070C0"/>
              </a:solidFill>
              <a:latin typeface="Segoe UI Semilight"/>
            </a:endParaRPr>
          </a:p>
          <a:p>
            <a:pPr marL="448193" lvl="1" indent="-224097" defTabSz="914367"/>
            <a:r>
              <a:rPr lang="en-US" sz="1765">
                <a:solidFill>
                  <a:srgbClr val="0070C0"/>
                </a:solidFill>
                <a:latin typeface="Segoe UI Semilight"/>
              </a:rPr>
              <a:t>Independent Software Vendors (ISVs) can build extensions/Software as a Service (</a:t>
            </a:r>
            <a:r>
              <a:rPr lang="en-US" sz="1765" b="1">
                <a:solidFill>
                  <a:srgbClr val="0070C0"/>
                </a:solidFill>
                <a:latin typeface="Segoe UI Semilight"/>
              </a:rPr>
              <a:t>SaaS</a:t>
            </a:r>
            <a:r>
              <a:rPr lang="en-US" sz="1765">
                <a:solidFill>
                  <a:srgbClr val="0070C0"/>
                </a:solidFill>
                <a:latin typeface="Segoe UI Semilight"/>
              </a:rPr>
              <a:t>) on SSIS Everest</a:t>
            </a:r>
          </a:p>
        </p:txBody>
      </p:sp>
      <p:sp>
        <p:nvSpPr>
          <p:cNvPr id="3" name="Rectangle: Rounded Corners 2"/>
          <p:cNvSpPr/>
          <p:nvPr/>
        </p:nvSpPr>
        <p:spPr bwMode="auto">
          <a:xfrm>
            <a:off x="5130143" y="2619559"/>
            <a:ext cx="1663246" cy="1210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a:solidFill>
                  <a:srgbClr val="FFFFFF"/>
                </a:solidFill>
                <a:latin typeface="Segoe UI Semilight"/>
              </a:rPr>
              <a:t>SSIS IR </a:t>
            </a:r>
            <a:r>
              <a:rPr lang="en-US" sz="1372" b="1">
                <a:solidFill>
                  <a:srgbClr val="FFFFFF"/>
                </a:solidFill>
                <a:latin typeface="Segoe UI Semilight"/>
              </a:rPr>
              <a:t>on ADF</a:t>
            </a:r>
            <a:r>
              <a:rPr lang="en-US" sz="1372">
                <a:solidFill>
                  <a:srgbClr val="FFFFFF"/>
                </a:solidFill>
                <a:latin typeface="Segoe UI Semilight"/>
              </a:rPr>
              <a:t> compute resource</a:t>
            </a:r>
          </a:p>
          <a:p>
            <a:pPr algn="ctr" defTabSz="914102" fontAlgn="base">
              <a:lnSpc>
                <a:spcPct val="90000"/>
              </a:lnSpc>
              <a:spcBef>
                <a:spcPct val="0"/>
              </a:spcBef>
              <a:spcAft>
                <a:spcPct val="0"/>
              </a:spcAft>
            </a:pPr>
            <a:endParaRPr lang="en-US" sz="1372" err="1">
              <a:solidFill>
                <a:srgbClr val="FFFFFF"/>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880369707"/>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6" name="TextBox 45"/>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9" name="TextBox 48"/>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Tree>
    <p:extLst>
      <p:ext uri="{BB962C8B-B14F-4D97-AF65-F5344CB8AC3E}">
        <p14:creationId xmlns:p14="http://schemas.microsoft.com/office/powerpoint/2010/main" val="1591949035"/>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98D6EF2B-3386-4A34-93FB-F8C979BDE40B}"/>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40" name="TextBox 39">
            <a:extLst>
              <a:ext uri="{FF2B5EF4-FFF2-40B4-BE49-F238E27FC236}">
                <a16:creationId xmlns:a16="http://schemas.microsoft.com/office/drawing/2014/main" id="{E471165B-D45A-4A2A-9F4F-B33C2DA99903}"/>
              </a:ext>
            </a:extLst>
          </p:cNvPr>
          <p:cNvSpPr txBox="1"/>
          <p:nvPr/>
        </p:nvSpPr>
        <p:spPr>
          <a:xfrm>
            <a:off x="2211493" y="3590736"/>
            <a:ext cx="3070681" cy="429080"/>
          </a:xfrm>
          <a:prstGeom prst="rect">
            <a:avLst/>
          </a:prstGeom>
          <a:noFill/>
        </p:spPr>
        <p:txBody>
          <a:bodyPr wrap="square" rtlCol="0">
            <a:spAutoFit/>
          </a:bodyPr>
          <a:lstStyle/>
          <a:p>
            <a:pPr marL="168072" indent="-168072" defTabSz="914225">
              <a:buFont typeface="Arial" panose="020B0604020202020204" pitchFamily="34" charset="0"/>
              <a:buChar char="•"/>
            </a:pPr>
            <a:r>
              <a:rPr lang="en-US" sz="1100" i="1">
                <a:solidFill>
                  <a:prstClr val="black"/>
                </a:solidFill>
                <a:latin typeface="Calibri" panose="020F0502020204030204"/>
              </a:rPr>
              <a:t>Want PaaS benefits (scale, no VM </a:t>
            </a:r>
            <a:r>
              <a:rPr lang="en-US" sz="1100" i="1" err="1">
                <a:solidFill>
                  <a:prstClr val="black"/>
                </a:solidFill>
                <a:latin typeface="Calibri" panose="020F0502020204030204"/>
              </a:rPr>
              <a:t>mgmt</a:t>
            </a:r>
            <a:r>
              <a:rPr lang="en-US" sz="1100" i="1">
                <a:solidFill>
                  <a:prstClr val="black"/>
                </a:solidFill>
                <a:latin typeface="Calibri" panose="020F0502020204030204"/>
              </a:rPr>
              <a:t>, </a:t>
            </a:r>
            <a:r>
              <a:rPr lang="en-US" sz="1100" i="1" err="1">
                <a:solidFill>
                  <a:prstClr val="black"/>
                </a:solidFill>
                <a:latin typeface="Calibri" panose="020F0502020204030204"/>
              </a:rPr>
              <a:t>etc</a:t>
            </a:r>
            <a:r>
              <a:rPr lang="en-US" sz="1100" i="1">
                <a:solidFill>
                  <a:prstClr val="black"/>
                </a:solidFill>
                <a:latin typeface="Calibri" panose="020F0502020204030204"/>
              </a:rPr>
              <a:t>)</a:t>
            </a:r>
          </a:p>
          <a:p>
            <a:pPr marL="168072" indent="-168072" defTabSz="914225">
              <a:buFont typeface="Arial" panose="020B0604020202020204" pitchFamily="34" charset="0"/>
              <a:buChar char="•"/>
            </a:pPr>
            <a:r>
              <a:rPr lang="en-US" sz="1100" i="1">
                <a:solidFill>
                  <a:prstClr val="black"/>
                </a:solidFill>
                <a:latin typeface="Calibri" panose="020F0502020204030204"/>
              </a:rPr>
              <a:t>Mix reuse &amp; modernization</a:t>
            </a:r>
          </a:p>
        </p:txBody>
      </p:sp>
    </p:spTree>
    <p:extLst>
      <p:ext uri="{BB962C8B-B14F-4D97-AF65-F5344CB8AC3E}">
        <p14:creationId xmlns:p14="http://schemas.microsoft.com/office/powerpoint/2010/main" val="1557763185"/>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5998" y="1162128"/>
            <a:ext cx="2470585" cy="374793"/>
          </a:xfrm>
          <a:prstGeom prst="rect">
            <a:avLst/>
          </a:prstGeom>
          <a:noFill/>
        </p:spPr>
        <p:txBody>
          <a:bodyPr wrap="square" rtlCol="0">
            <a:spAutoFit/>
          </a:bodyPr>
          <a:lstStyle/>
          <a:p>
            <a:pPr defTabSz="914225"/>
            <a:r>
              <a:rPr lang="en-US" b="1" u="sng">
                <a:solidFill>
                  <a:prstClr val="black"/>
                </a:solidFill>
                <a:latin typeface="Calibri" panose="020F0502020204030204"/>
              </a:rPr>
              <a:t>Traditional ETL</a:t>
            </a:r>
          </a:p>
        </p:txBody>
      </p:sp>
      <p:sp>
        <p:nvSpPr>
          <p:cNvPr id="14" name="Arrow: Down 13"/>
          <p:cNvSpPr/>
          <p:nvPr/>
        </p:nvSpPr>
        <p:spPr>
          <a:xfrm>
            <a:off x="2108023" y="1770920"/>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19" name="TextBox 18"/>
          <p:cNvSpPr txBox="1"/>
          <p:nvPr/>
        </p:nvSpPr>
        <p:spPr>
          <a:xfrm>
            <a:off x="1120590" y="2118303"/>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1. SSIS on Prem (to SQL </a:t>
            </a:r>
            <a:r>
              <a:rPr lang="en-US" err="1">
                <a:solidFill>
                  <a:prstClr val="black"/>
                </a:solidFill>
                <a:latin typeface="Calibri" panose="020F0502020204030204"/>
              </a:rPr>
              <a:t>Svr</a:t>
            </a:r>
            <a:r>
              <a:rPr lang="en-US">
                <a:solidFill>
                  <a:prstClr val="black"/>
                </a:solidFill>
                <a:latin typeface="Calibri" panose="020F0502020204030204"/>
              </a:rPr>
              <a:t>)</a:t>
            </a:r>
          </a:p>
        </p:txBody>
      </p:sp>
      <p:sp>
        <p:nvSpPr>
          <p:cNvPr id="44" name="Arrow: Down 43"/>
          <p:cNvSpPr/>
          <p:nvPr/>
        </p:nvSpPr>
        <p:spPr>
          <a:xfrm>
            <a:off x="2091361" y="2534349"/>
            <a:ext cx="174637" cy="417118"/>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 name="TextBox 44"/>
          <p:cNvSpPr txBox="1"/>
          <p:nvPr/>
        </p:nvSpPr>
        <p:spPr>
          <a:xfrm>
            <a:off x="1120587" y="3025725"/>
            <a:ext cx="3988664" cy="374793"/>
          </a:xfrm>
          <a:prstGeom prst="rect">
            <a:avLst/>
          </a:prstGeom>
          <a:noFill/>
        </p:spPr>
        <p:txBody>
          <a:bodyPr wrap="square" rtlCol="0">
            <a:spAutoFit/>
          </a:bodyPr>
          <a:lstStyle/>
          <a:p>
            <a:pPr defTabSz="914225"/>
            <a:r>
              <a:rPr lang="en-US">
                <a:solidFill>
                  <a:prstClr val="black"/>
                </a:solidFill>
                <a:latin typeface="Calibri" panose="020F0502020204030204"/>
              </a:rPr>
              <a:t>2. SSIS on IaaS (to SQL on IaaS | </a:t>
            </a:r>
            <a:r>
              <a:rPr lang="en-US" err="1">
                <a:solidFill>
                  <a:prstClr val="black"/>
                </a:solidFill>
                <a:latin typeface="Calibri" panose="020F0502020204030204"/>
              </a:rPr>
              <a:t>Az</a:t>
            </a:r>
            <a:r>
              <a:rPr lang="en-US">
                <a:solidFill>
                  <a:prstClr val="black"/>
                </a:solidFill>
                <a:latin typeface="Calibri" panose="020F0502020204030204"/>
              </a:rPr>
              <a:t> DB)</a:t>
            </a:r>
          </a:p>
        </p:txBody>
      </p:sp>
      <p:sp>
        <p:nvSpPr>
          <p:cNvPr id="47" name="Arrow: Down 46"/>
          <p:cNvSpPr/>
          <p:nvPr/>
        </p:nvSpPr>
        <p:spPr>
          <a:xfrm>
            <a:off x="2091360" y="3536942"/>
            <a:ext cx="190047" cy="6975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50" name="TextBox 49"/>
          <p:cNvSpPr txBox="1"/>
          <p:nvPr/>
        </p:nvSpPr>
        <p:spPr>
          <a:xfrm>
            <a:off x="1120588" y="4376417"/>
            <a:ext cx="3482445" cy="374793"/>
          </a:xfrm>
          <a:prstGeom prst="rect">
            <a:avLst/>
          </a:prstGeom>
          <a:noFill/>
        </p:spPr>
        <p:txBody>
          <a:bodyPr wrap="square" rtlCol="0">
            <a:spAutoFit/>
          </a:bodyPr>
          <a:lstStyle/>
          <a:p>
            <a:pPr defTabSz="914225"/>
            <a:r>
              <a:rPr lang="en-US">
                <a:solidFill>
                  <a:prstClr val="black"/>
                </a:solidFill>
                <a:latin typeface="Calibri" panose="020F0502020204030204"/>
              </a:rPr>
              <a:t>3. </a:t>
            </a:r>
            <a:r>
              <a:rPr lang="en-US" b="1">
                <a:solidFill>
                  <a:prstClr val="black"/>
                </a:solidFill>
                <a:latin typeface="Calibri" panose="020F0502020204030204"/>
              </a:rPr>
              <a:t>SSIS Runtime in ADF</a:t>
            </a:r>
          </a:p>
        </p:txBody>
      </p:sp>
      <p:cxnSp>
        <p:nvCxnSpPr>
          <p:cNvPr id="58" name="Straight Arrow Connector 57"/>
          <p:cNvCxnSpPr>
            <a:cxnSpLocks/>
          </p:cNvCxnSpPr>
          <p:nvPr/>
        </p:nvCxnSpPr>
        <p:spPr>
          <a:xfrm>
            <a:off x="3318947" y="4745698"/>
            <a:ext cx="1705268"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4" name="Rectangle 63"/>
          <p:cNvSpPr/>
          <p:nvPr/>
        </p:nvSpPr>
        <p:spPr>
          <a:xfrm>
            <a:off x="4051591" y="5359126"/>
            <a:ext cx="4552304" cy="431739"/>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Package A</a:t>
            </a:r>
          </a:p>
        </p:txBody>
      </p:sp>
      <p:sp>
        <p:nvSpPr>
          <p:cNvPr id="65" name="Rectangle 64"/>
          <p:cNvSpPr/>
          <p:nvPr/>
        </p:nvSpPr>
        <p:spPr>
          <a:xfrm>
            <a:off x="4051591" y="5849964"/>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6" name="Rectangle 65"/>
          <p:cNvSpPr/>
          <p:nvPr/>
        </p:nvSpPr>
        <p:spPr>
          <a:xfrm>
            <a:off x="4051591" y="6340803"/>
            <a:ext cx="4552304" cy="431739"/>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en-US">
              <a:solidFill>
                <a:srgbClr val="353535"/>
              </a:solidFill>
              <a:latin typeface="Calibri" panose="020F0502020204030204"/>
            </a:endParaRPr>
          </a:p>
        </p:txBody>
      </p:sp>
      <p:sp>
        <p:nvSpPr>
          <p:cNvPr id="67" name="TextBox 66"/>
          <p:cNvSpPr txBox="1"/>
          <p:nvPr/>
        </p:nvSpPr>
        <p:spPr>
          <a:xfrm>
            <a:off x="2762722" y="5390357"/>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69" name="Straight Arrow Connector 68"/>
          <p:cNvCxnSpPr>
            <a:cxnSpLocks/>
          </p:cNvCxnSpPr>
          <p:nvPr/>
        </p:nvCxnSpPr>
        <p:spPr>
          <a:xfrm>
            <a:off x="3555035" y="5574995"/>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2" name="TextBox 71"/>
          <p:cNvSpPr txBox="1"/>
          <p:nvPr/>
        </p:nvSpPr>
        <p:spPr>
          <a:xfrm>
            <a:off x="2762722" y="5858844"/>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3" name="Straight Arrow Connector 72"/>
          <p:cNvCxnSpPr>
            <a:cxnSpLocks/>
          </p:cNvCxnSpPr>
          <p:nvPr/>
        </p:nvCxnSpPr>
        <p:spPr>
          <a:xfrm>
            <a:off x="3555035" y="6043483"/>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76" name="TextBox 75"/>
          <p:cNvSpPr txBox="1"/>
          <p:nvPr/>
        </p:nvSpPr>
        <p:spPr>
          <a:xfrm>
            <a:off x="2762722" y="6353502"/>
            <a:ext cx="830408" cy="367477"/>
          </a:xfrm>
          <a:prstGeom prst="rect">
            <a:avLst/>
          </a:prstGeom>
          <a:noFill/>
        </p:spPr>
        <p:txBody>
          <a:bodyPr wrap="square" rtlCol="0">
            <a:spAutoFit/>
          </a:bodyPr>
          <a:lstStyle/>
          <a:p>
            <a:pPr defTabSz="914225"/>
            <a:r>
              <a:rPr lang="en-US">
                <a:solidFill>
                  <a:srgbClr val="353535"/>
                </a:solidFill>
                <a:latin typeface="Calibri" panose="020F0502020204030204"/>
              </a:rPr>
              <a:t>Trigger</a:t>
            </a:r>
          </a:p>
        </p:txBody>
      </p:sp>
      <p:cxnSp>
        <p:nvCxnSpPr>
          <p:cNvPr id="77" name="Straight Arrow Connector 76"/>
          <p:cNvCxnSpPr>
            <a:cxnSpLocks/>
          </p:cNvCxnSpPr>
          <p:nvPr/>
        </p:nvCxnSpPr>
        <p:spPr>
          <a:xfrm>
            <a:off x="3555035" y="6538141"/>
            <a:ext cx="458461"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80" name="Rectangle 79"/>
          <p:cNvSpPr/>
          <p:nvPr/>
        </p:nvSpPr>
        <p:spPr>
          <a:xfrm>
            <a:off x="4254120" y="5917847"/>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1" name="Rectangle 80"/>
          <p:cNvSpPr/>
          <p:nvPr/>
        </p:nvSpPr>
        <p:spPr>
          <a:xfrm>
            <a:off x="5109252" y="5917847"/>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SIS </a:t>
            </a:r>
            <a:r>
              <a:rPr lang="en-US" err="1">
                <a:solidFill>
                  <a:srgbClr val="353535"/>
                </a:solidFill>
                <a:latin typeface="Calibri" panose="020F0502020204030204"/>
              </a:rPr>
              <a:t>Pkg</a:t>
            </a:r>
            <a:r>
              <a:rPr lang="en-US">
                <a:solidFill>
                  <a:srgbClr val="353535"/>
                </a:solidFill>
                <a:latin typeface="Calibri" panose="020F0502020204030204"/>
              </a:rPr>
              <a:t> A</a:t>
            </a:r>
          </a:p>
        </p:txBody>
      </p:sp>
      <p:sp>
        <p:nvSpPr>
          <p:cNvPr id="82" name="Rectangle 81"/>
          <p:cNvSpPr/>
          <p:nvPr/>
        </p:nvSpPr>
        <p:spPr>
          <a:xfrm>
            <a:off x="6461430" y="5917847"/>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sp>
        <p:nvSpPr>
          <p:cNvPr id="83" name="Rectangle 82"/>
          <p:cNvSpPr/>
          <p:nvPr/>
        </p:nvSpPr>
        <p:spPr>
          <a:xfrm>
            <a:off x="4254120" y="6423045"/>
            <a:ext cx="683135"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Copy</a:t>
            </a:r>
          </a:p>
        </p:txBody>
      </p:sp>
      <p:sp>
        <p:nvSpPr>
          <p:cNvPr id="84" name="Rectangle 83"/>
          <p:cNvSpPr/>
          <p:nvPr/>
        </p:nvSpPr>
        <p:spPr>
          <a:xfrm>
            <a:off x="5109252" y="6423045"/>
            <a:ext cx="1209682" cy="284880"/>
          </a:xfrm>
          <a:prstGeom prst="rect">
            <a:avLst/>
          </a:prstGeom>
          <a:solidFill>
            <a:schemeClr val="accent1">
              <a:lumMod val="10000"/>
              <a:lumOff val="90000"/>
            </a:schemeClr>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914225"/>
            <a:r>
              <a:rPr lang="en-US">
                <a:solidFill>
                  <a:srgbClr val="353535"/>
                </a:solidFill>
                <a:latin typeface="Calibri" panose="020F0502020204030204"/>
              </a:rPr>
              <a:t>Spark</a:t>
            </a:r>
          </a:p>
        </p:txBody>
      </p:sp>
      <p:sp>
        <p:nvSpPr>
          <p:cNvPr id="85" name="Rectangle 84"/>
          <p:cNvSpPr/>
          <p:nvPr/>
        </p:nvSpPr>
        <p:spPr>
          <a:xfrm>
            <a:off x="6461430" y="6423045"/>
            <a:ext cx="1209682" cy="284880"/>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ML</a:t>
            </a:r>
          </a:p>
        </p:txBody>
      </p:sp>
      <p:cxnSp>
        <p:nvCxnSpPr>
          <p:cNvPr id="86" name="Straight Arrow Connector 85"/>
          <p:cNvCxnSpPr>
            <a:cxnSpLocks/>
            <a:stCxn id="83" idx="3"/>
            <a:endCxn id="84" idx="1"/>
          </p:cNvCxnSpPr>
          <p:nvPr/>
        </p:nvCxnSpPr>
        <p:spPr>
          <a:xfrm>
            <a:off x="4937256"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89" name="Straight Arrow Connector 88"/>
          <p:cNvCxnSpPr>
            <a:cxnSpLocks/>
          </p:cNvCxnSpPr>
          <p:nvPr/>
        </p:nvCxnSpPr>
        <p:spPr>
          <a:xfrm>
            <a:off x="4951167" y="6043514"/>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2" name="Straight Arrow Connector 91"/>
          <p:cNvCxnSpPr>
            <a:cxnSpLocks/>
          </p:cNvCxnSpPr>
          <p:nvPr/>
        </p:nvCxnSpPr>
        <p:spPr>
          <a:xfrm>
            <a:off x="6318934" y="6060287"/>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6" name="Straight Arrow Connector 95"/>
          <p:cNvCxnSpPr>
            <a:cxnSpLocks/>
          </p:cNvCxnSpPr>
          <p:nvPr/>
        </p:nvCxnSpPr>
        <p:spPr>
          <a:xfrm>
            <a:off x="6318934"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7" name="Straight Arrow Connector 96"/>
          <p:cNvCxnSpPr>
            <a:cxnSpLocks/>
          </p:cNvCxnSpPr>
          <p:nvPr/>
        </p:nvCxnSpPr>
        <p:spPr>
          <a:xfrm>
            <a:off x="7667725" y="6069396"/>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cxnSp>
        <p:nvCxnSpPr>
          <p:cNvPr id="98" name="Straight Arrow Connector 97"/>
          <p:cNvCxnSpPr>
            <a:cxnSpLocks/>
          </p:cNvCxnSpPr>
          <p:nvPr/>
        </p:nvCxnSpPr>
        <p:spPr>
          <a:xfrm>
            <a:off x="7667725" y="6565485"/>
            <a:ext cx="171996" cy="0"/>
          </a:xfrm>
          <a:prstGeom prst="straightConnector1">
            <a:avLst/>
          </a:prstGeom>
          <a:ln>
            <a:solidFill>
              <a:schemeClr val="bg1">
                <a:lumMod val="65000"/>
              </a:schemeClr>
            </a:solidFill>
            <a:tailEnd type="triangle"/>
          </a:ln>
        </p:spPr>
        <p:style>
          <a:lnRef idx="2">
            <a:schemeClr val="dk1"/>
          </a:lnRef>
          <a:fillRef idx="1">
            <a:schemeClr val="lt1"/>
          </a:fillRef>
          <a:effectRef idx="0">
            <a:schemeClr val="dk1"/>
          </a:effectRef>
          <a:fontRef idx="minor">
            <a:schemeClr val="dk1"/>
          </a:fontRef>
        </p:style>
      </p:cxnSp>
      <p:sp>
        <p:nvSpPr>
          <p:cNvPr id="99" name="Rectangle 98"/>
          <p:cNvSpPr/>
          <p:nvPr/>
        </p:nvSpPr>
        <p:spPr>
          <a:xfrm>
            <a:off x="7859557" y="5903651"/>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sp>
        <p:nvSpPr>
          <p:cNvPr id="100" name="Rectangle 99"/>
          <p:cNvSpPr/>
          <p:nvPr/>
        </p:nvSpPr>
        <p:spPr>
          <a:xfrm>
            <a:off x="7859557" y="6394437"/>
            <a:ext cx="630054" cy="324472"/>
          </a:xfrm>
          <a:prstGeom prst="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r>
              <a:rPr lang="en-US">
                <a:solidFill>
                  <a:srgbClr val="353535"/>
                </a:solidFill>
                <a:latin typeface="Calibri" panose="020F0502020204030204"/>
              </a:rPr>
              <a:t>…</a:t>
            </a:r>
          </a:p>
        </p:txBody>
      </p:sp>
      <p:pic>
        <p:nvPicPr>
          <p:cNvPr id="170" name="Picture 1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02963" y="507988"/>
            <a:ext cx="3606288" cy="607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1" name="TextBox 170"/>
          <p:cNvSpPr txBox="1"/>
          <p:nvPr/>
        </p:nvSpPr>
        <p:spPr>
          <a:xfrm>
            <a:off x="8752058" y="5390356"/>
            <a:ext cx="2062772" cy="374793"/>
          </a:xfrm>
          <a:prstGeom prst="rect">
            <a:avLst/>
          </a:prstGeom>
          <a:noFill/>
        </p:spPr>
        <p:txBody>
          <a:bodyPr wrap="none" rtlCol="0">
            <a:spAutoFit/>
          </a:bodyPr>
          <a:lstStyle/>
          <a:p>
            <a:pPr defTabSz="914225"/>
            <a:r>
              <a:rPr lang="en-US">
                <a:solidFill>
                  <a:prstClr val="black"/>
                </a:solidFill>
                <a:latin typeface="Calibri" panose="020F0502020204030204"/>
              </a:rPr>
              <a:t>SSIS Package “As-is”</a:t>
            </a:r>
          </a:p>
        </p:txBody>
      </p:sp>
      <p:sp>
        <p:nvSpPr>
          <p:cNvPr id="172" name="TextBox 171"/>
          <p:cNvSpPr txBox="1"/>
          <p:nvPr/>
        </p:nvSpPr>
        <p:spPr>
          <a:xfrm>
            <a:off x="8752058" y="5884756"/>
            <a:ext cx="2209778" cy="374793"/>
          </a:xfrm>
          <a:prstGeom prst="rect">
            <a:avLst/>
          </a:prstGeom>
          <a:noFill/>
        </p:spPr>
        <p:txBody>
          <a:bodyPr wrap="none" rtlCol="0">
            <a:spAutoFit/>
          </a:bodyPr>
          <a:lstStyle/>
          <a:p>
            <a:pPr defTabSz="914225"/>
            <a:r>
              <a:rPr lang="en-US">
                <a:solidFill>
                  <a:prstClr val="black"/>
                </a:solidFill>
                <a:latin typeface="Calibri" panose="020F0502020204030204"/>
              </a:rPr>
              <a:t>SSIS Package “Reuse”</a:t>
            </a:r>
          </a:p>
        </p:txBody>
      </p:sp>
      <p:sp>
        <p:nvSpPr>
          <p:cNvPr id="173" name="TextBox 172"/>
          <p:cNvSpPr txBox="1"/>
          <p:nvPr/>
        </p:nvSpPr>
        <p:spPr>
          <a:xfrm>
            <a:off x="8751163" y="6376742"/>
            <a:ext cx="2053060" cy="367477"/>
          </a:xfrm>
          <a:prstGeom prst="rect">
            <a:avLst/>
          </a:prstGeom>
          <a:noFill/>
        </p:spPr>
        <p:txBody>
          <a:bodyPr wrap="none" rtlCol="0">
            <a:spAutoFit/>
          </a:bodyPr>
          <a:lstStyle/>
          <a:p>
            <a:pPr defTabSz="914225"/>
            <a:r>
              <a:rPr lang="en-US">
                <a:solidFill>
                  <a:prstClr val="black"/>
                </a:solidFill>
                <a:latin typeface="Calibri" panose="020F0502020204030204"/>
              </a:rPr>
              <a:t>Transform “@Scale”</a:t>
            </a:r>
          </a:p>
        </p:txBody>
      </p:sp>
      <p:sp>
        <p:nvSpPr>
          <p:cNvPr id="39" name="TextBox 38">
            <a:extLst>
              <a:ext uri="{FF2B5EF4-FFF2-40B4-BE49-F238E27FC236}">
                <a16:creationId xmlns:a16="http://schemas.microsoft.com/office/drawing/2014/main" id="{D057B0E6-C9A6-43CC-B27F-7430DB8DA606}"/>
              </a:ext>
            </a:extLst>
          </p:cNvPr>
          <p:cNvSpPr txBox="1"/>
          <p:nvPr/>
        </p:nvSpPr>
        <p:spPr>
          <a:xfrm>
            <a:off x="6614582" y="1320773"/>
            <a:ext cx="3260245" cy="367477"/>
          </a:xfrm>
          <a:prstGeom prst="rect">
            <a:avLst/>
          </a:prstGeom>
          <a:noFill/>
        </p:spPr>
        <p:txBody>
          <a:bodyPr wrap="square" rtlCol="0">
            <a:spAutoFit/>
          </a:bodyPr>
          <a:lstStyle/>
          <a:p>
            <a:pPr defTabSz="914225"/>
            <a:r>
              <a:rPr lang="en-US" b="1" u="sng">
                <a:solidFill>
                  <a:prstClr val="black"/>
                </a:solidFill>
                <a:latin typeface="Calibri" panose="020F0502020204030204"/>
              </a:rPr>
              <a:t>Modern DW &amp; Data Driven SaaS</a:t>
            </a:r>
          </a:p>
        </p:txBody>
      </p:sp>
      <p:grpSp>
        <p:nvGrpSpPr>
          <p:cNvPr id="6" name="Group 5">
            <a:extLst>
              <a:ext uri="{FF2B5EF4-FFF2-40B4-BE49-F238E27FC236}">
                <a16:creationId xmlns:a16="http://schemas.microsoft.com/office/drawing/2014/main" id="{DF106549-2DA9-4A5F-90CF-36FD09096CC5}"/>
              </a:ext>
            </a:extLst>
          </p:cNvPr>
          <p:cNvGrpSpPr/>
          <p:nvPr/>
        </p:nvGrpSpPr>
        <p:grpSpPr>
          <a:xfrm>
            <a:off x="5671396" y="142109"/>
            <a:ext cx="58781" cy="4524612"/>
            <a:chOff x="5785119" y="717790"/>
            <a:chExt cx="50648" cy="3636105"/>
          </a:xfrm>
        </p:grpSpPr>
        <p:cxnSp>
          <p:nvCxnSpPr>
            <p:cNvPr id="40" name="Straight Connector 39">
              <a:extLst>
                <a:ext uri="{FF2B5EF4-FFF2-40B4-BE49-F238E27FC236}">
                  <a16:creationId xmlns:a16="http://schemas.microsoft.com/office/drawing/2014/main" id="{AD95EEFE-248C-468B-9497-86119631D7B8}"/>
                </a:ext>
              </a:extLst>
            </p:cNvPr>
            <p:cNvCxnSpPr>
              <a:cxnSpLocks/>
            </p:cNvCxnSpPr>
            <p:nvPr/>
          </p:nvCxnSpPr>
          <p:spPr>
            <a:xfrm>
              <a:off x="5785119" y="717790"/>
              <a:ext cx="5239" cy="3636105"/>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85F7B0B-D60E-4289-835D-B164B2DDC97B}"/>
                </a:ext>
              </a:extLst>
            </p:cNvPr>
            <p:cNvCxnSpPr>
              <a:cxnSpLocks/>
            </p:cNvCxnSpPr>
            <p:nvPr/>
          </p:nvCxnSpPr>
          <p:spPr>
            <a:xfrm>
              <a:off x="5830528" y="717790"/>
              <a:ext cx="5239" cy="3636105"/>
            </a:xfrm>
            <a:prstGeom prst="line">
              <a:avLst/>
            </a:prstGeom>
          </p:spPr>
          <p:style>
            <a:lnRef idx="1">
              <a:schemeClr val="dk1"/>
            </a:lnRef>
            <a:fillRef idx="0">
              <a:schemeClr val="dk1"/>
            </a:fillRef>
            <a:effectRef idx="0">
              <a:schemeClr val="dk1"/>
            </a:effectRef>
            <a:fontRef idx="minor">
              <a:schemeClr val="tx1"/>
            </a:fontRef>
          </p:style>
        </p:cxnSp>
      </p:grpSp>
      <p:sp>
        <p:nvSpPr>
          <p:cNvPr id="42" name="Arrow: Down 41">
            <a:extLst>
              <a:ext uri="{FF2B5EF4-FFF2-40B4-BE49-F238E27FC236}">
                <a16:creationId xmlns:a16="http://schemas.microsoft.com/office/drawing/2014/main" id="{A386B017-0160-4FED-8B61-086D0CDD690E}"/>
              </a:ext>
            </a:extLst>
          </p:cNvPr>
          <p:cNvSpPr/>
          <p:nvPr/>
        </p:nvSpPr>
        <p:spPr>
          <a:xfrm>
            <a:off x="6892135" y="1797265"/>
            <a:ext cx="174636" cy="287635"/>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3" name="Arrow: Down 42">
            <a:extLst>
              <a:ext uri="{FF2B5EF4-FFF2-40B4-BE49-F238E27FC236}">
                <a16:creationId xmlns:a16="http://schemas.microsoft.com/office/drawing/2014/main" id="{B7C7EEB6-00BD-4D07-BE85-569C59CE51E3}"/>
              </a:ext>
            </a:extLst>
          </p:cNvPr>
          <p:cNvSpPr/>
          <p:nvPr/>
        </p:nvSpPr>
        <p:spPr>
          <a:xfrm>
            <a:off x="6892134" y="2619181"/>
            <a:ext cx="183196" cy="1757237"/>
          </a:xfrm>
          <a:prstGeom prst="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8" name="TextBox 47">
            <a:extLst>
              <a:ext uri="{FF2B5EF4-FFF2-40B4-BE49-F238E27FC236}">
                <a16:creationId xmlns:a16="http://schemas.microsoft.com/office/drawing/2014/main" id="{760E340C-EE7D-471E-8918-44702853162A}"/>
              </a:ext>
            </a:extLst>
          </p:cNvPr>
          <p:cNvSpPr txBox="1"/>
          <p:nvPr/>
        </p:nvSpPr>
        <p:spPr>
          <a:xfrm>
            <a:off x="6236395" y="4376417"/>
            <a:ext cx="4191963" cy="374793"/>
          </a:xfrm>
          <a:prstGeom prst="rect">
            <a:avLst/>
          </a:prstGeom>
          <a:noFill/>
        </p:spPr>
        <p:txBody>
          <a:bodyPr wrap="square" rtlCol="0">
            <a:spAutoFit/>
          </a:bodyPr>
          <a:lstStyle/>
          <a:p>
            <a:pPr defTabSz="914225"/>
            <a:r>
              <a:rPr lang="en-US">
                <a:solidFill>
                  <a:prstClr val="black"/>
                </a:solidFill>
                <a:latin typeface="Calibri" panose="020F0502020204030204"/>
              </a:rPr>
              <a:t>2. </a:t>
            </a:r>
            <a:r>
              <a:rPr lang="en-US" b="1">
                <a:solidFill>
                  <a:prstClr val="black"/>
                </a:solidFill>
                <a:latin typeface="Calibri" panose="020F0502020204030204"/>
              </a:rPr>
              <a:t>ADF v2 (PaaS: Control Flow, Data Flow)</a:t>
            </a:r>
          </a:p>
        </p:txBody>
      </p:sp>
      <p:cxnSp>
        <p:nvCxnSpPr>
          <p:cNvPr id="52" name="Straight Arrow Connector 51">
            <a:extLst>
              <a:ext uri="{FF2B5EF4-FFF2-40B4-BE49-F238E27FC236}">
                <a16:creationId xmlns:a16="http://schemas.microsoft.com/office/drawing/2014/main" id="{A2C08710-7463-43A2-A122-7683A09CDE0C}"/>
              </a:ext>
            </a:extLst>
          </p:cNvPr>
          <p:cNvCxnSpPr>
            <a:cxnSpLocks/>
          </p:cNvCxnSpPr>
          <p:nvPr/>
        </p:nvCxnSpPr>
        <p:spPr>
          <a:xfrm flipH="1">
            <a:off x="5202582" y="4745698"/>
            <a:ext cx="1561145" cy="500643"/>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53" name="Picture 52">
            <a:extLst>
              <a:ext uri="{FF2B5EF4-FFF2-40B4-BE49-F238E27FC236}">
                <a16:creationId xmlns:a16="http://schemas.microsoft.com/office/drawing/2014/main" id="{081CDAF8-C7BC-4AD6-BC64-29018589271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6396" y="366882"/>
            <a:ext cx="4090621" cy="9228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4ED948CE-727F-41E2-A6B4-32175B6285AC}"/>
              </a:ext>
            </a:extLst>
          </p:cNvPr>
          <p:cNvSpPr txBox="1"/>
          <p:nvPr/>
        </p:nvSpPr>
        <p:spPr>
          <a:xfrm>
            <a:off x="6236396" y="2118842"/>
            <a:ext cx="4792213" cy="563151"/>
          </a:xfrm>
          <a:prstGeom prst="rect">
            <a:avLst/>
          </a:prstGeom>
          <a:noFill/>
        </p:spPr>
        <p:txBody>
          <a:bodyPr wrap="square" rtlCol="0">
            <a:spAutoFit/>
          </a:bodyPr>
          <a:lstStyle/>
          <a:p>
            <a:pPr defTabSz="914225"/>
            <a:r>
              <a:rPr lang="en-US">
                <a:solidFill>
                  <a:prstClr val="black"/>
                </a:solidFill>
                <a:latin typeface="Calibri" panose="020F0502020204030204"/>
              </a:rPr>
              <a:t>1. ADF V1 (Time-series, Tumbling Window) </a:t>
            </a:r>
          </a:p>
          <a:p>
            <a:pPr defTabSz="914225"/>
            <a:r>
              <a:rPr lang="en-US" sz="1200">
                <a:solidFill>
                  <a:prstClr val="black"/>
                </a:solidFill>
                <a:latin typeface="Calibri" panose="020F0502020204030204"/>
              </a:rPr>
              <a:t>(scenarios: log processing, etc.) </a:t>
            </a:r>
          </a:p>
        </p:txBody>
      </p:sp>
      <p:sp>
        <p:nvSpPr>
          <p:cNvPr id="55" name="TextBox 54">
            <a:extLst>
              <a:ext uri="{FF2B5EF4-FFF2-40B4-BE49-F238E27FC236}">
                <a16:creationId xmlns:a16="http://schemas.microsoft.com/office/drawing/2014/main" id="{0A35D34B-B2BA-49B3-92A4-69680970F945}"/>
              </a:ext>
            </a:extLst>
          </p:cNvPr>
          <p:cNvSpPr txBox="1"/>
          <p:nvPr/>
        </p:nvSpPr>
        <p:spPr>
          <a:xfrm>
            <a:off x="2202369" y="2598392"/>
            <a:ext cx="2511676" cy="27155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Lift &amp; Shift w/ compatibility</a:t>
            </a:r>
          </a:p>
        </p:txBody>
      </p:sp>
      <p:sp>
        <p:nvSpPr>
          <p:cNvPr id="56" name="TextBox 55">
            <a:extLst>
              <a:ext uri="{FF2B5EF4-FFF2-40B4-BE49-F238E27FC236}">
                <a16:creationId xmlns:a16="http://schemas.microsoft.com/office/drawing/2014/main" id="{AEDB67F0-0F5B-4DD5-B3A4-EC7C987C8436}"/>
              </a:ext>
            </a:extLst>
          </p:cNvPr>
          <p:cNvSpPr txBox="1"/>
          <p:nvPr/>
        </p:nvSpPr>
        <p:spPr>
          <a:xfrm>
            <a:off x="2211493" y="3590736"/>
            <a:ext cx="3070681" cy="635174"/>
          </a:xfrm>
          <a:prstGeom prst="rect">
            <a:avLst/>
          </a:prstGeom>
          <a:noFill/>
        </p:spPr>
        <p:txBody>
          <a:bodyPr wrap="square" rtlCol="0">
            <a:spAutoFit/>
          </a:bodyPr>
          <a:lstStyle/>
          <a:p>
            <a:pPr marL="168072" indent="-168072" defTabSz="914225">
              <a:buFont typeface="Arial" panose="020B0604020202020204" pitchFamily="34" charset="0"/>
              <a:buChar char="•"/>
            </a:pPr>
            <a:r>
              <a:rPr lang="en-US" sz="1176" i="1">
                <a:solidFill>
                  <a:prstClr val="black"/>
                </a:solidFill>
                <a:latin typeface="Calibri" panose="020F0502020204030204"/>
              </a:rPr>
              <a:t>Want PaaS benefits (scale, no VM </a:t>
            </a:r>
            <a:r>
              <a:rPr lang="en-US" sz="1176" i="1" err="1">
                <a:solidFill>
                  <a:prstClr val="black"/>
                </a:solidFill>
                <a:latin typeface="Calibri" panose="020F0502020204030204"/>
              </a:rPr>
              <a:t>mgmt</a:t>
            </a:r>
            <a:r>
              <a:rPr lang="en-US" sz="1176" i="1">
                <a:solidFill>
                  <a:prstClr val="black"/>
                </a:solidFill>
                <a:latin typeface="Calibri" panose="020F0502020204030204"/>
              </a:rPr>
              <a:t>, </a:t>
            </a:r>
            <a:r>
              <a:rPr lang="en-US" sz="1176" i="1" err="1">
                <a:solidFill>
                  <a:prstClr val="black"/>
                </a:solidFill>
                <a:latin typeface="Calibri" panose="020F0502020204030204"/>
              </a:rPr>
              <a:t>etc</a:t>
            </a:r>
            <a:r>
              <a:rPr lang="en-US" sz="1176" i="1">
                <a:solidFill>
                  <a:prstClr val="black"/>
                </a:solidFill>
                <a:latin typeface="Calibri" panose="020F0502020204030204"/>
              </a:rPr>
              <a:t>)</a:t>
            </a:r>
          </a:p>
          <a:p>
            <a:pPr marL="168072" indent="-168072" defTabSz="914225">
              <a:buFont typeface="Arial" panose="020B0604020202020204" pitchFamily="34" charset="0"/>
              <a:buChar char="•"/>
            </a:pPr>
            <a:r>
              <a:rPr lang="en-US" sz="1176" i="1">
                <a:solidFill>
                  <a:prstClr val="black"/>
                </a:solidFill>
                <a:latin typeface="Calibri" panose="020F0502020204030204"/>
              </a:rPr>
              <a:t>Mix reuse &amp; modernization</a:t>
            </a:r>
          </a:p>
        </p:txBody>
      </p:sp>
      <p:sp>
        <p:nvSpPr>
          <p:cNvPr id="57" name="TextBox 56">
            <a:extLst>
              <a:ext uri="{FF2B5EF4-FFF2-40B4-BE49-F238E27FC236}">
                <a16:creationId xmlns:a16="http://schemas.microsoft.com/office/drawing/2014/main" id="{59BCF345-1A39-4432-BC9B-D32D9EA1D4D4}"/>
              </a:ext>
            </a:extLst>
          </p:cNvPr>
          <p:cNvSpPr txBox="1"/>
          <p:nvPr/>
        </p:nvSpPr>
        <p:spPr>
          <a:xfrm>
            <a:off x="7016639" y="3336932"/>
            <a:ext cx="3895065" cy="633625"/>
          </a:xfrm>
          <a:prstGeom prst="rect">
            <a:avLst/>
          </a:prstGeom>
          <a:noFill/>
        </p:spPr>
        <p:txBody>
          <a:bodyPr wrap="square" rtlCol="0">
            <a:spAutoFit/>
          </a:bodyPr>
          <a:lstStyle/>
          <a:p>
            <a:pPr defTabSz="914225"/>
            <a:r>
              <a:rPr lang="en-US" sz="1176" i="1">
                <a:solidFill>
                  <a:prstClr val="black"/>
                </a:solidFill>
                <a:latin typeface="Calibri" panose="020F0502020204030204"/>
              </a:rPr>
              <a:t>Migrate v1 to v2:</a:t>
            </a:r>
          </a:p>
          <a:p>
            <a:pPr marL="168072" indent="-168072" defTabSz="914225">
              <a:buFont typeface="Arial" panose="020B0604020202020204" pitchFamily="34" charset="0"/>
              <a:buChar char="•"/>
            </a:pPr>
            <a:r>
              <a:rPr lang="en-US" sz="1176" i="1">
                <a:solidFill>
                  <a:prstClr val="black"/>
                </a:solidFill>
                <a:latin typeface="Calibri" panose="020F0502020204030204"/>
              </a:rPr>
              <a:t>Much more flexible model</a:t>
            </a:r>
          </a:p>
          <a:p>
            <a:pPr marL="168072" indent="-168072" defTabSz="914225">
              <a:buFont typeface="Arial" panose="020B0604020202020204" pitchFamily="34" charset="0"/>
              <a:buChar char="•"/>
            </a:pPr>
            <a:r>
              <a:rPr lang="en-US" sz="1176" i="1">
                <a:solidFill>
                  <a:prstClr val="black"/>
                </a:solidFill>
                <a:latin typeface="Calibri" panose="020F0502020204030204"/>
              </a:rPr>
              <a:t>Similar or cheaper in many scenarios</a:t>
            </a:r>
          </a:p>
        </p:txBody>
      </p:sp>
    </p:spTree>
    <p:extLst>
      <p:ext uri="{BB962C8B-B14F-4D97-AF65-F5344CB8AC3E}">
        <p14:creationId xmlns:p14="http://schemas.microsoft.com/office/powerpoint/2010/main" val="2719453584"/>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 y="2875957"/>
            <a:ext cx="5985864" cy="942975"/>
          </a:xfrm>
        </p:spPr>
        <p:txBody>
          <a:bodyPr anchor="ctr">
            <a:noAutofit/>
          </a:bodyPr>
          <a:lstStyle/>
          <a:p>
            <a:pPr algn="r">
              <a:lnSpc>
                <a:spcPct val="90000"/>
              </a:lnSpc>
            </a:pPr>
            <a:r>
              <a:rPr lang="en-US" sz="8800" dirty="0">
                <a:solidFill>
                  <a:schemeClr val="bg1"/>
                </a:solidFill>
                <a:latin typeface="Segoe UI Light" panose="020B0502040204020203" pitchFamily="34" charset="0"/>
                <a:cs typeface="Segoe UI Light" panose="020B0502040204020203" pitchFamily="34" charset="0"/>
              </a:rPr>
              <a:t>Q &amp; A</a:t>
            </a:r>
          </a:p>
        </p:txBody>
      </p:sp>
      <p:sp>
        <p:nvSpPr>
          <p:cNvPr id="4" name="Oval 3"/>
          <p:cNvSpPr/>
          <p:nvPr/>
        </p:nvSpPr>
        <p:spPr>
          <a:xfrm>
            <a:off x="6959607" y="1910195"/>
            <a:ext cx="2736107" cy="2743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extBox 2"/>
          <p:cNvSpPr txBox="1"/>
          <p:nvPr/>
        </p:nvSpPr>
        <p:spPr>
          <a:xfrm>
            <a:off x="7586137" y="1928269"/>
            <a:ext cx="1271303" cy="26570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666" b="1" i="0" u="none" strike="noStrike" kern="0" cap="none" spc="0" normalizeH="0" baseline="0" noProof="0" dirty="0">
                <a:ln>
                  <a:noFill/>
                </a:ln>
                <a:solidFill>
                  <a:prstClr val="white">
                    <a:lumMod val="95000"/>
                  </a:prstClr>
                </a:solidFill>
                <a:effectLst/>
                <a:uLnTx/>
                <a:uFillTx/>
                <a:latin typeface="Microsoft Sans Serif" panose="020B0604020202020204" pitchFamily="34" charset="0"/>
                <a:ea typeface="+mn-ea"/>
                <a:cs typeface="Microsoft Sans Serif" panose="020B0604020202020204" pitchFamily="34" charset="0"/>
              </a:rPr>
              <a:t>?</a:t>
            </a:r>
          </a:p>
        </p:txBody>
      </p:sp>
      <p:sp>
        <p:nvSpPr>
          <p:cNvPr id="5" name="Subtitle 4"/>
          <p:cNvSpPr txBox="1">
            <a:spLocks/>
          </p:cNvSpPr>
          <p:nvPr/>
        </p:nvSpPr>
        <p:spPr>
          <a:xfrm>
            <a:off x="497712" y="5089183"/>
            <a:ext cx="8359727" cy="1549745"/>
          </a:xfrm>
          <a:prstGeom prst="rect">
            <a:avLst/>
          </a:prstGeom>
        </p:spPr>
        <p:txBody>
          <a:bodyPr/>
          <a:lst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James Serra, Big Data Evangelist</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mail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3"/>
              </a:rPr>
              <a:t>JamesSerra3@gmail.com</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llow me at: @</a:t>
            </a:r>
            <a:r>
              <a:rPr kumimoji="0" lang="en-US" sz="14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ink to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4"/>
              </a:rPr>
              <a:t>www.linkedin.com/in/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isit my blog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5"/>
              </a:rPr>
              <a:t>JamesSerra.com</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where this slide deck is posted via the “Presentations” link on the top menu)</a:t>
            </a:r>
          </a:p>
        </p:txBody>
      </p:sp>
    </p:spTree>
    <p:extLst>
      <p:ext uri="{BB962C8B-B14F-4D97-AF65-F5344CB8AC3E}">
        <p14:creationId xmlns:p14="http://schemas.microsoft.com/office/powerpoint/2010/main" val="3943082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ch semantic modeling</a:t>
            </a:r>
            <a:br>
              <a:rPr lang="en-US" dirty="0"/>
            </a:br>
            <a:r>
              <a:rPr lang="en-US" sz="3137" dirty="0">
                <a:gradFill>
                  <a:gsLst>
                    <a:gs pos="1250">
                      <a:schemeClr val="tx2"/>
                    </a:gs>
                    <a:gs pos="100000">
                      <a:schemeClr val="tx2"/>
                    </a:gs>
                  </a:gsLst>
                  <a:lin ang="5400000" scaled="0"/>
                </a:gradFill>
              </a:rPr>
              <a:t>Transform complex on-premises or cloud data into insights</a:t>
            </a:r>
            <a:endParaRPr lang="en-US" dirty="0">
              <a:gradFill>
                <a:gsLst>
                  <a:gs pos="1250">
                    <a:schemeClr val="tx2"/>
                  </a:gs>
                  <a:gs pos="100000">
                    <a:schemeClr val="tx2"/>
                  </a:gs>
                </a:gsLst>
                <a:lin ang="5400000" scaled="0"/>
              </a:gradFill>
            </a:endParaRPr>
          </a:p>
        </p:txBody>
      </p:sp>
      <p:grpSp>
        <p:nvGrpSpPr>
          <p:cNvPr id="6" name="Group 5"/>
          <p:cNvGrpSpPr>
            <a:grpSpLocks noChangeAspect="1"/>
          </p:cNvGrpSpPr>
          <p:nvPr/>
        </p:nvGrpSpPr>
        <p:grpSpPr>
          <a:xfrm>
            <a:off x="4527257" y="2935967"/>
            <a:ext cx="3227129" cy="1908523"/>
            <a:chOff x="4661589" y="1873556"/>
            <a:chExt cx="3610696" cy="2135366"/>
          </a:xfrm>
        </p:grpSpPr>
        <p:sp>
          <p:nvSpPr>
            <p:cNvPr id="31"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33" name="TextBox 32">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144" name="Picture 143">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sp>
        <p:nvSpPr>
          <p:cNvPr id="146" name="Content Placeholder 2"/>
          <p:cNvSpPr txBox="1">
            <a:spLocks/>
          </p:cNvSpPr>
          <p:nvPr/>
        </p:nvSpPr>
        <p:spPr>
          <a:xfrm>
            <a:off x="7933671" y="2297295"/>
            <a:ext cx="3675342" cy="3352765"/>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Model complex data into business user friendly semantic dataset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Combine into a single model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for one version of the truth </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Build scalable solutions over billions of rows of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Deliver trusted data models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that business users can </a:t>
            </a:r>
            <a:br>
              <a:rPr lang="en-US" sz="1961" dirty="0">
                <a:gradFill>
                  <a:gsLst>
                    <a:gs pos="1250">
                      <a:srgbClr val="353535"/>
                    </a:gs>
                    <a:gs pos="100000">
                      <a:srgbClr val="353535"/>
                    </a:gs>
                  </a:gsLst>
                  <a:lin ang="5400000" scaled="0"/>
                </a:gradFill>
                <a:latin typeface="Segoe UI Semilight"/>
              </a:rPr>
            </a:br>
            <a:r>
              <a:rPr lang="en-US" sz="1961" dirty="0">
                <a:gradFill>
                  <a:gsLst>
                    <a:gs pos="1250">
                      <a:srgbClr val="353535"/>
                    </a:gs>
                    <a:gs pos="100000">
                      <a:srgbClr val="353535"/>
                    </a:gs>
                  </a:gsLst>
                  <a:lin ang="5400000" scaled="0"/>
                </a:gradFill>
                <a:latin typeface="Segoe UI Semilight"/>
              </a:rPr>
              <a:t>easily understand</a:t>
            </a:r>
          </a:p>
        </p:txBody>
      </p:sp>
      <p:grpSp>
        <p:nvGrpSpPr>
          <p:cNvPr id="9" name="Group 8"/>
          <p:cNvGrpSpPr/>
          <p:nvPr/>
        </p:nvGrpSpPr>
        <p:grpSpPr>
          <a:xfrm>
            <a:off x="1120531" y="2292130"/>
            <a:ext cx="3344457" cy="3925727"/>
            <a:chOff x="686117" y="2337595"/>
            <a:chExt cx="3411520" cy="4004446"/>
          </a:xfrm>
        </p:grpSpPr>
        <p:sp>
          <p:nvSpPr>
            <p:cNvPr id="21" name="TextBox 20"/>
            <p:cNvSpPr txBox="1"/>
            <p:nvPr/>
          </p:nvSpPr>
          <p:spPr>
            <a:xfrm>
              <a:off x="752274" y="4031774"/>
              <a:ext cx="104434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Cloud</a:t>
              </a:r>
            </a:p>
          </p:txBody>
        </p:sp>
        <p:sp>
          <p:nvSpPr>
            <p:cNvPr id="22" name="TextBox 21"/>
            <p:cNvSpPr txBox="1"/>
            <p:nvPr/>
          </p:nvSpPr>
          <p:spPr>
            <a:xfrm>
              <a:off x="749087" y="4335359"/>
              <a:ext cx="1193923" cy="261610"/>
            </a:xfrm>
            <a:prstGeom prst="rect">
              <a:avLst/>
            </a:prstGeom>
            <a:noFill/>
          </p:spPr>
          <p:txBody>
            <a:bodyPr wrap="square" rtlCol="0">
              <a:spAutoFit/>
            </a:bodyPr>
            <a:lstStyle/>
            <a:p>
              <a:pPr defTabSz="913523">
                <a:defRPr/>
              </a:pPr>
              <a:r>
                <a:rPr lang="en-US" sz="1078" b="1" kern="0" dirty="0">
                  <a:gradFill>
                    <a:gsLst>
                      <a:gs pos="11504">
                        <a:srgbClr val="353535"/>
                      </a:gs>
                      <a:gs pos="37168">
                        <a:srgbClr val="353535"/>
                      </a:gs>
                    </a:gsLst>
                    <a:lin ang="5400000" scaled="0"/>
                  </a:gradFill>
                  <a:latin typeface="Segoe UI"/>
                </a:rPr>
                <a:t>On-premises</a:t>
              </a:r>
            </a:p>
          </p:txBody>
        </p:sp>
        <p:grpSp>
          <p:nvGrpSpPr>
            <p:cNvPr id="109" name="Group 108"/>
            <p:cNvGrpSpPr/>
            <p:nvPr/>
          </p:nvGrpSpPr>
          <p:grpSpPr>
            <a:xfrm>
              <a:off x="686903" y="2337595"/>
              <a:ext cx="1762631" cy="1482898"/>
              <a:chOff x="-2528604" y="2530410"/>
              <a:chExt cx="1762631" cy="1482898"/>
            </a:xfrm>
          </p:grpSpPr>
          <p:sp>
            <p:nvSpPr>
              <p:cNvPr id="110" name="Rectangle 109"/>
              <p:cNvSpPr/>
              <p:nvPr/>
            </p:nvSpPr>
            <p:spPr>
              <a:xfrm>
                <a:off x="-2468977" y="2577506"/>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11" name="Group 110"/>
              <p:cNvGrpSpPr/>
              <p:nvPr/>
            </p:nvGrpSpPr>
            <p:grpSpPr>
              <a:xfrm>
                <a:off x="-2417028" y="2623672"/>
                <a:ext cx="1526214" cy="1343469"/>
                <a:chOff x="757437" y="2519885"/>
                <a:chExt cx="1987953" cy="1749921"/>
              </a:xfrm>
              <a:solidFill>
                <a:schemeClr val="bg1">
                  <a:alpha val="15000"/>
                </a:schemeClr>
              </a:solidFill>
            </p:grpSpPr>
            <p:sp>
              <p:nvSpPr>
                <p:cNvPr id="113"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4" name="Oval 113"/>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5" name="Oval 114"/>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6" name="Oval 115"/>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7" name="Oval 116"/>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8" name="Oval 117"/>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19"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20" name="Oval 119"/>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1"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22"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3"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24"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25"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12" name="Rectangle 111"/>
              <p:cNvSpPr/>
              <p:nvPr/>
            </p:nvSpPr>
            <p:spPr>
              <a:xfrm>
                <a:off x="-2528604" y="2530410"/>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grpSp>
          <p:nvGrpSpPr>
            <p:cNvPr id="126" name="Group 125"/>
            <p:cNvGrpSpPr/>
            <p:nvPr/>
          </p:nvGrpSpPr>
          <p:grpSpPr>
            <a:xfrm>
              <a:off x="686117" y="4859143"/>
              <a:ext cx="1762631" cy="1482898"/>
              <a:chOff x="1003776" y="4859143"/>
              <a:chExt cx="1762631" cy="1482898"/>
            </a:xfrm>
          </p:grpSpPr>
          <p:sp>
            <p:nvSpPr>
              <p:cNvPr id="127" name="Rectangle 126"/>
              <p:cNvSpPr/>
              <p:nvPr/>
            </p:nvSpPr>
            <p:spPr>
              <a:xfrm>
                <a:off x="1063403" y="4906239"/>
                <a:ext cx="1641701" cy="1359257"/>
              </a:xfrm>
              <a:prstGeom prst="rect">
                <a:avLst/>
              </a:prstGeom>
              <a:solidFill>
                <a:srgbClr val="0072C6"/>
              </a:solidFill>
              <a:ln w="1143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endParaRPr lang="en-US" sz="1765" b="1" kern="0" dirty="0">
                  <a:gradFill>
                    <a:gsLst>
                      <a:gs pos="100000">
                        <a:srgbClr val="FFFFFF"/>
                      </a:gs>
                      <a:gs pos="31000">
                        <a:srgbClr val="FFFFFF"/>
                      </a:gs>
                    </a:gsLst>
                    <a:lin ang="5400000" scaled="0"/>
                  </a:gradFill>
                  <a:latin typeface="Segoe UI"/>
                </a:endParaRPr>
              </a:p>
            </p:txBody>
          </p:sp>
          <p:grpSp>
            <p:nvGrpSpPr>
              <p:cNvPr id="128" name="Group 127"/>
              <p:cNvGrpSpPr/>
              <p:nvPr/>
            </p:nvGrpSpPr>
            <p:grpSpPr>
              <a:xfrm>
                <a:off x="1115352" y="4952406"/>
                <a:ext cx="1526214" cy="1343469"/>
                <a:chOff x="757437" y="2519885"/>
                <a:chExt cx="1987953" cy="1749921"/>
              </a:xfrm>
              <a:solidFill>
                <a:schemeClr val="bg1">
                  <a:alpha val="15000"/>
                </a:schemeClr>
              </a:solidFill>
            </p:grpSpPr>
            <p:sp>
              <p:nvSpPr>
                <p:cNvPr id="130" name="Freeform 73"/>
                <p:cNvSpPr>
                  <a:spLocks noChangeAspect="1" noEditPoints="1"/>
                </p:cNvSpPr>
                <p:nvPr/>
              </p:nvSpPr>
              <p:spPr bwMode="black">
                <a:xfrm>
                  <a:off x="2163993" y="3714524"/>
                  <a:ext cx="546475" cy="54647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1" name="Oval 130"/>
                <p:cNvSpPr/>
                <p:nvPr/>
              </p:nvSpPr>
              <p:spPr>
                <a:xfrm>
                  <a:off x="1769946" y="3970228"/>
                  <a:ext cx="254741" cy="25474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2" name="Oval 131"/>
                <p:cNvSpPr/>
                <p:nvPr/>
              </p:nvSpPr>
              <p:spPr>
                <a:xfrm>
                  <a:off x="1942884" y="3613005"/>
                  <a:ext cx="185689" cy="18568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3" name="Oval 132"/>
                <p:cNvSpPr/>
                <p:nvPr/>
              </p:nvSpPr>
              <p:spPr>
                <a:xfrm>
                  <a:off x="1588638" y="2622021"/>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4" name="Oval 133"/>
                <p:cNvSpPr/>
                <p:nvPr/>
              </p:nvSpPr>
              <p:spPr>
                <a:xfrm>
                  <a:off x="2511665" y="2941844"/>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5" name="Oval 134"/>
                <p:cNvSpPr/>
                <p:nvPr/>
              </p:nvSpPr>
              <p:spPr>
                <a:xfrm>
                  <a:off x="2479435" y="2519885"/>
                  <a:ext cx="265955" cy="2659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6" name="Freeform 21"/>
                <p:cNvSpPr>
                  <a:spLocks noChangeAspect="1" noEditPoints="1"/>
                </p:cNvSpPr>
                <p:nvPr/>
              </p:nvSpPr>
              <p:spPr bwMode="black">
                <a:xfrm>
                  <a:off x="791852" y="2527050"/>
                  <a:ext cx="659174" cy="410546"/>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dirty="0">
                    <a:gradFill>
                      <a:gsLst>
                        <a:gs pos="100000">
                          <a:srgbClr val="FFFFFF"/>
                        </a:gs>
                        <a:gs pos="31000">
                          <a:srgbClr val="FFFFFF"/>
                        </a:gs>
                      </a:gsLst>
                      <a:lin ang="5400000" scaled="0"/>
                    </a:gradFill>
                    <a:latin typeface="Segoe UI"/>
                  </a:endParaRPr>
                </a:p>
              </p:txBody>
            </p:sp>
            <p:sp>
              <p:nvSpPr>
                <p:cNvPr id="137" name="Oval 136"/>
                <p:cNvSpPr/>
                <p:nvPr/>
              </p:nvSpPr>
              <p:spPr>
                <a:xfrm>
                  <a:off x="1327496" y="3029019"/>
                  <a:ext cx="140851" cy="14085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8" name="Freeform 219"/>
                <p:cNvSpPr>
                  <a:spLocks noChangeAspect="1"/>
                </p:cNvSpPr>
                <p:nvPr/>
              </p:nvSpPr>
              <p:spPr bwMode="black">
                <a:xfrm>
                  <a:off x="757437" y="3012269"/>
                  <a:ext cx="457200" cy="457137"/>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dirty="0">
                    <a:gradFill>
                      <a:gsLst>
                        <a:gs pos="100000">
                          <a:srgbClr val="FFFFFF"/>
                        </a:gs>
                        <a:gs pos="31000">
                          <a:srgbClr val="FFFFFF"/>
                        </a:gs>
                      </a:gsLst>
                      <a:lin ang="5400000" scaled="0"/>
                    </a:gradFill>
                    <a:latin typeface="Segoe UI"/>
                    <a:ea typeface="Segoe UI" pitchFamily="34" charset="0"/>
                    <a:cs typeface="Segoe UI" pitchFamily="34" charset="0"/>
                  </a:endParaRPr>
                </a:p>
              </p:txBody>
            </p:sp>
            <p:sp>
              <p:nvSpPr>
                <p:cNvPr id="139" name="Freeform 88"/>
                <p:cNvSpPr>
                  <a:spLocks noEditPoints="1"/>
                </p:cNvSpPr>
                <p:nvPr/>
              </p:nvSpPr>
              <p:spPr bwMode="black">
                <a:xfrm>
                  <a:off x="2166732" y="3099365"/>
                  <a:ext cx="516790" cy="5562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0" name="Freeform 26"/>
                <p:cNvSpPr>
                  <a:spLocks noEditPoints="1"/>
                </p:cNvSpPr>
                <p:nvPr/>
              </p:nvSpPr>
              <p:spPr bwMode="auto">
                <a:xfrm>
                  <a:off x="2095047" y="2595034"/>
                  <a:ext cx="235693" cy="349106"/>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noFill/>
                </a:ln>
              </p:spPr>
              <p:txBody>
                <a:bodyPr vert="horz" wrap="square" lIns="91388" tIns="45694" rIns="91388" bIns="45694" numCol="1" anchor="t" anchorCtr="0" compatLnSpc="1">
                  <a:prstTxWarp prst="textNoShape">
                    <a:avLst/>
                  </a:prstTxWarp>
                </a:bodyPr>
                <a:lstStyle/>
                <a:p>
                  <a:pPr defTabSz="913698">
                    <a:defRPr/>
                  </a:pPr>
                  <a:endParaRPr lang="en-US" sz="1765" kern="0">
                    <a:gradFill>
                      <a:gsLst>
                        <a:gs pos="100000">
                          <a:srgbClr val="FFFFFF"/>
                        </a:gs>
                        <a:gs pos="31000">
                          <a:srgbClr val="FFFFFF"/>
                        </a:gs>
                      </a:gsLst>
                      <a:lin ang="5400000" scaled="0"/>
                    </a:gradFill>
                    <a:latin typeface="Segoe UI"/>
                  </a:endParaRPr>
                </a:p>
              </p:txBody>
            </p:sp>
            <p:sp>
              <p:nvSpPr>
                <p:cNvPr id="141" name="Freeform 85"/>
                <p:cNvSpPr>
                  <a:spLocks noEditPoints="1"/>
                </p:cNvSpPr>
                <p:nvPr/>
              </p:nvSpPr>
              <p:spPr bwMode="auto">
                <a:xfrm>
                  <a:off x="1563885" y="2853147"/>
                  <a:ext cx="447846" cy="578821"/>
                </a:xfrm>
                <a:custGeom>
                  <a:avLst/>
                  <a:gdLst/>
                  <a:ahLst/>
                  <a:cxnLst>
                    <a:cxn ang="0">
                      <a:pos x="187" y="0"/>
                    </a:cxn>
                    <a:cxn ang="0">
                      <a:pos x="55" y="0"/>
                    </a:cxn>
                    <a:cxn ang="0">
                      <a:pos x="0" y="31"/>
                    </a:cxn>
                    <a:cxn ang="0">
                      <a:pos x="0" y="283"/>
                    </a:cxn>
                    <a:cxn ang="0">
                      <a:pos x="55" y="314"/>
                    </a:cxn>
                    <a:cxn ang="0">
                      <a:pos x="187" y="314"/>
                    </a:cxn>
                    <a:cxn ang="0">
                      <a:pos x="242" y="283"/>
                    </a:cxn>
                    <a:cxn ang="0">
                      <a:pos x="242" y="31"/>
                    </a:cxn>
                    <a:cxn ang="0">
                      <a:pos x="187" y="0"/>
                    </a:cxn>
                    <a:cxn ang="0">
                      <a:pos x="126" y="283"/>
                    </a:cxn>
                    <a:cxn ang="0">
                      <a:pos x="97" y="254"/>
                    </a:cxn>
                    <a:cxn ang="0">
                      <a:pos x="126" y="225"/>
                    </a:cxn>
                    <a:cxn ang="0">
                      <a:pos x="155" y="254"/>
                    </a:cxn>
                    <a:cxn ang="0">
                      <a:pos x="126" y="283"/>
                    </a:cxn>
                    <a:cxn ang="0">
                      <a:pos x="221" y="161"/>
                    </a:cxn>
                    <a:cxn ang="0">
                      <a:pos x="215" y="167"/>
                    </a:cxn>
                    <a:cxn ang="0">
                      <a:pos x="26" y="167"/>
                    </a:cxn>
                    <a:cxn ang="0">
                      <a:pos x="21" y="161"/>
                    </a:cxn>
                    <a:cxn ang="0">
                      <a:pos x="21" y="31"/>
                    </a:cxn>
                    <a:cxn ang="0">
                      <a:pos x="26" y="25"/>
                    </a:cxn>
                    <a:cxn ang="0">
                      <a:pos x="215" y="25"/>
                    </a:cxn>
                    <a:cxn ang="0">
                      <a:pos x="221" y="31"/>
                    </a:cxn>
                    <a:cxn ang="0">
                      <a:pos x="221" y="161"/>
                    </a:cxn>
                  </a:cxnLst>
                  <a:rect l="0" t="0" r="r" b="b"/>
                  <a:pathLst>
                    <a:path w="242" h="314">
                      <a:moveTo>
                        <a:pt x="187" y="0"/>
                      </a:moveTo>
                      <a:cubicBezTo>
                        <a:pt x="55" y="0"/>
                        <a:pt x="55" y="0"/>
                        <a:pt x="55" y="0"/>
                      </a:cubicBezTo>
                      <a:cubicBezTo>
                        <a:pt x="25" y="0"/>
                        <a:pt x="0" y="1"/>
                        <a:pt x="0" y="31"/>
                      </a:cubicBezTo>
                      <a:cubicBezTo>
                        <a:pt x="0" y="283"/>
                        <a:pt x="0" y="283"/>
                        <a:pt x="0" y="283"/>
                      </a:cubicBezTo>
                      <a:cubicBezTo>
                        <a:pt x="0" y="313"/>
                        <a:pt x="25" y="314"/>
                        <a:pt x="55" y="314"/>
                      </a:cubicBezTo>
                      <a:cubicBezTo>
                        <a:pt x="187" y="314"/>
                        <a:pt x="187" y="314"/>
                        <a:pt x="187" y="314"/>
                      </a:cubicBezTo>
                      <a:cubicBezTo>
                        <a:pt x="217" y="314"/>
                        <a:pt x="242" y="313"/>
                        <a:pt x="242" y="283"/>
                      </a:cubicBezTo>
                      <a:cubicBezTo>
                        <a:pt x="242" y="31"/>
                        <a:pt x="242" y="31"/>
                        <a:pt x="242" y="31"/>
                      </a:cubicBezTo>
                      <a:cubicBezTo>
                        <a:pt x="242" y="1"/>
                        <a:pt x="217" y="0"/>
                        <a:pt x="187" y="0"/>
                      </a:cubicBezTo>
                      <a:close/>
                      <a:moveTo>
                        <a:pt x="126" y="283"/>
                      </a:moveTo>
                      <a:cubicBezTo>
                        <a:pt x="110" y="283"/>
                        <a:pt x="97" y="270"/>
                        <a:pt x="97" y="254"/>
                      </a:cubicBezTo>
                      <a:cubicBezTo>
                        <a:pt x="97" y="238"/>
                        <a:pt x="110" y="225"/>
                        <a:pt x="126" y="225"/>
                      </a:cubicBezTo>
                      <a:cubicBezTo>
                        <a:pt x="142" y="225"/>
                        <a:pt x="155" y="238"/>
                        <a:pt x="155" y="254"/>
                      </a:cubicBezTo>
                      <a:cubicBezTo>
                        <a:pt x="155" y="270"/>
                        <a:pt x="142" y="283"/>
                        <a:pt x="126" y="283"/>
                      </a:cubicBezTo>
                      <a:close/>
                      <a:moveTo>
                        <a:pt x="221" y="161"/>
                      </a:moveTo>
                      <a:cubicBezTo>
                        <a:pt x="221" y="165"/>
                        <a:pt x="218" y="167"/>
                        <a:pt x="215" y="167"/>
                      </a:cubicBezTo>
                      <a:cubicBezTo>
                        <a:pt x="26" y="167"/>
                        <a:pt x="26" y="167"/>
                        <a:pt x="26" y="167"/>
                      </a:cubicBezTo>
                      <a:cubicBezTo>
                        <a:pt x="23" y="167"/>
                        <a:pt x="21" y="165"/>
                        <a:pt x="21" y="161"/>
                      </a:cubicBezTo>
                      <a:cubicBezTo>
                        <a:pt x="21" y="31"/>
                        <a:pt x="21" y="31"/>
                        <a:pt x="21" y="31"/>
                      </a:cubicBezTo>
                      <a:cubicBezTo>
                        <a:pt x="21" y="28"/>
                        <a:pt x="23" y="25"/>
                        <a:pt x="26" y="25"/>
                      </a:cubicBezTo>
                      <a:cubicBezTo>
                        <a:pt x="215" y="25"/>
                        <a:pt x="215" y="25"/>
                        <a:pt x="215" y="25"/>
                      </a:cubicBezTo>
                      <a:cubicBezTo>
                        <a:pt x="218" y="25"/>
                        <a:pt x="221" y="28"/>
                        <a:pt x="221" y="31"/>
                      </a:cubicBezTo>
                      <a:lnTo>
                        <a:pt x="221" y="161"/>
                      </a:lnTo>
                      <a:close/>
                    </a:path>
                  </a:pathLst>
                </a:custGeom>
                <a:grpFill/>
                <a:extLst/>
              </p:spPr>
              <p:txBody>
                <a:bodyPr vert="horz" wrap="square" lIns="93207" tIns="46603" rIns="93207" bIns="46603" numCol="1" anchor="t" anchorCtr="0" compatLnSpc="1">
                  <a:prstTxWarp prst="textNoShape">
                    <a:avLst/>
                  </a:prstTxWarp>
                </a:bodyPr>
                <a:lstStyle/>
                <a:p>
                  <a:pPr defTabSz="931843">
                    <a:defRPr/>
                  </a:pPr>
                  <a:endParaRPr lang="en-US" sz="1765" kern="0">
                    <a:gradFill>
                      <a:gsLst>
                        <a:gs pos="100000">
                          <a:srgbClr val="FFFFFF"/>
                        </a:gs>
                        <a:gs pos="31000">
                          <a:srgbClr val="FFFFFF"/>
                        </a:gs>
                      </a:gsLst>
                      <a:lin ang="5400000" scaled="0"/>
                    </a:gradFill>
                    <a:latin typeface="Segoe UI"/>
                  </a:endParaRPr>
                </a:p>
              </p:txBody>
            </p:sp>
            <p:sp>
              <p:nvSpPr>
                <p:cNvPr id="142" name="Freeform 229"/>
                <p:cNvSpPr/>
                <p:nvPr/>
              </p:nvSpPr>
              <p:spPr>
                <a:xfrm>
                  <a:off x="938339" y="3451352"/>
                  <a:ext cx="743672" cy="818454"/>
                </a:xfrm>
                <a:custGeom>
                  <a:avLst/>
                  <a:gdLst>
                    <a:gd name="connsiteX0" fmla="*/ 528162 w 853584"/>
                    <a:gd name="connsiteY0" fmla="*/ 99273 h 939419"/>
                    <a:gd name="connsiteX1" fmla="*/ 592919 w 853584"/>
                    <a:gd name="connsiteY1" fmla="*/ 119375 h 939419"/>
                    <a:gd name="connsiteX2" fmla="*/ 853584 w 853584"/>
                    <a:gd name="connsiteY2" fmla="*/ 512627 h 939419"/>
                    <a:gd name="connsiteX3" fmla="*/ 426792 w 853584"/>
                    <a:gd name="connsiteY3" fmla="*/ 939419 h 939419"/>
                    <a:gd name="connsiteX4" fmla="*/ 0 w 853584"/>
                    <a:gd name="connsiteY4" fmla="*/ 512627 h 939419"/>
                    <a:gd name="connsiteX5" fmla="*/ 260665 w 853584"/>
                    <a:gd name="connsiteY5" fmla="*/ 119375 h 939419"/>
                    <a:gd name="connsiteX6" fmla="*/ 296800 w 853584"/>
                    <a:gd name="connsiteY6" fmla="*/ 108158 h 939419"/>
                    <a:gd name="connsiteX7" fmla="*/ 296800 w 853584"/>
                    <a:gd name="connsiteY7" fmla="*/ 250889 h 939419"/>
                    <a:gd name="connsiteX8" fmla="*/ 262767 w 853584"/>
                    <a:gd name="connsiteY8" fmla="*/ 269362 h 939419"/>
                    <a:gd name="connsiteX9" fmla="*/ 133424 w 853584"/>
                    <a:gd name="connsiteY9" fmla="*/ 512627 h 939419"/>
                    <a:gd name="connsiteX10" fmla="*/ 426792 w 853584"/>
                    <a:gd name="connsiteY10" fmla="*/ 805995 h 939419"/>
                    <a:gd name="connsiteX11" fmla="*/ 720160 w 853584"/>
                    <a:gd name="connsiteY11" fmla="*/ 512627 h 939419"/>
                    <a:gd name="connsiteX12" fmla="*/ 540984 w 853584"/>
                    <a:gd name="connsiteY12" fmla="*/ 242313 h 939419"/>
                    <a:gd name="connsiteX13" fmla="*/ 528162 w 853584"/>
                    <a:gd name="connsiteY13" fmla="*/ 238333 h 939419"/>
                    <a:gd name="connsiteX14" fmla="*/ 413546 w 853584"/>
                    <a:gd name="connsiteY14" fmla="*/ 0 h 939419"/>
                    <a:gd name="connsiteX15" fmla="*/ 467162 w 853584"/>
                    <a:gd name="connsiteY15" fmla="*/ 53616 h 939419"/>
                    <a:gd name="connsiteX16" fmla="*/ 467162 w 853584"/>
                    <a:gd name="connsiteY16" fmla="*/ 486795 h 939419"/>
                    <a:gd name="connsiteX17" fmla="*/ 413546 w 853584"/>
                    <a:gd name="connsiteY17" fmla="*/ 540411 h 939419"/>
                    <a:gd name="connsiteX18" fmla="*/ 359930 w 853584"/>
                    <a:gd name="connsiteY18" fmla="*/ 486795 h 939419"/>
                    <a:gd name="connsiteX19" fmla="*/ 359930 w 853584"/>
                    <a:gd name="connsiteY19" fmla="*/ 53616 h 939419"/>
                    <a:gd name="connsiteX20" fmla="*/ 413546 w 853584"/>
                    <a:gd name="connsiteY20" fmla="*/ 0 h 93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3584" h="939419">
                      <a:moveTo>
                        <a:pt x="528162" y="99273"/>
                      </a:moveTo>
                      <a:lnTo>
                        <a:pt x="592919" y="119375"/>
                      </a:lnTo>
                      <a:cubicBezTo>
                        <a:pt x="746101" y="184165"/>
                        <a:pt x="853584" y="335844"/>
                        <a:pt x="853584" y="512627"/>
                      </a:cubicBezTo>
                      <a:cubicBezTo>
                        <a:pt x="853584" y="748338"/>
                        <a:pt x="662503" y="939419"/>
                        <a:pt x="426792" y="939419"/>
                      </a:cubicBezTo>
                      <a:cubicBezTo>
                        <a:pt x="191081" y="939419"/>
                        <a:pt x="0" y="748338"/>
                        <a:pt x="0" y="512627"/>
                      </a:cubicBezTo>
                      <a:cubicBezTo>
                        <a:pt x="0" y="335844"/>
                        <a:pt x="107483" y="184165"/>
                        <a:pt x="260665" y="119375"/>
                      </a:cubicBezTo>
                      <a:lnTo>
                        <a:pt x="296800" y="108158"/>
                      </a:lnTo>
                      <a:lnTo>
                        <a:pt x="296800" y="250889"/>
                      </a:lnTo>
                      <a:lnTo>
                        <a:pt x="262767" y="269362"/>
                      </a:lnTo>
                      <a:cubicBezTo>
                        <a:pt x="184731" y="322082"/>
                        <a:pt x="133424" y="411363"/>
                        <a:pt x="133424" y="512627"/>
                      </a:cubicBezTo>
                      <a:cubicBezTo>
                        <a:pt x="133424" y="674650"/>
                        <a:pt x="264769" y="805995"/>
                        <a:pt x="426792" y="805995"/>
                      </a:cubicBezTo>
                      <a:cubicBezTo>
                        <a:pt x="588815" y="805995"/>
                        <a:pt x="720160" y="674650"/>
                        <a:pt x="720160" y="512627"/>
                      </a:cubicBezTo>
                      <a:cubicBezTo>
                        <a:pt x="720160" y="391110"/>
                        <a:pt x="646279" y="286849"/>
                        <a:pt x="540984" y="242313"/>
                      </a:cubicBezTo>
                      <a:lnTo>
                        <a:pt x="528162" y="238333"/>
                      </a:lnTo>
                      <a:close/>
                      <a:moveTo>
                        <a:pt x="413546" y="0"/>
                      </a:moveTo>
                      <a:cubicBezTo>
                        <a:pt x="443157" y="0"/>
                        <a:pt x="467162" y="24005"/>
                        <a:pt x="467162" y="53616"/>
                      </a:cubicBezTo>
                      <a:lnTo>
                        <a:pt x="467162" y="486795"/>
                      </a:lnTo>
                      <a:cubicBezTo>
                        <a:pt x="467162" y="516406"/>
                        <a:pt x="443157" y="540411"/>
                        <a:pt x="413546" y="540411"/>
                      </a:cubicBezTo>
                      <a:cubicBezTo>
                        <a:pt x="383935" y="540411"/>
                        <a:pt x="359930" y="516406"/>
                        <a:pt x="359930" y="486795"/>
                      </a:cubicBezTo>
                      <a:lnTo>
                        <a:pt x="359930" y="53616"/>
                      </a:lnTo>
                      <a:cubicBezTo>
                        <a:pt x="359930" y="24005"/>
                        <a:pt x="383935" y="0"/>
                        <a:pt x="41354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a:lnSpc>
                      <a:spcPct val="90000"/>
                    </a:lnSpc>
                    <a:defRPr/>
                  </a:pPr>
                  <a:endParaRPr lang="en-US" sz="1765" kern="0">
                    <a:gradFill>
                      <a:gsLst>
                        <a:gs pos="100000">
                          <a:srgbClr val="FFFFFF"/>
                        </a:gs>
                        <a:gs pos="31000">
                          <a:srgbClr val="FFFFFF"/>
                        </a:gs>
                      </a:gsLst>
                      <a:lin ang="5400000" scaled="0"/>
                    </a:gradFill>
                    <a:latin typeface="Segoe UI"/>
                    <a:ea typeface="Segoe UI" pitchFamily="34" charset="0"/>
                    <a:cs typeface="Segoe UI" pitchFamily="34" charset="0"/>
                  </a:endParaRPr>
                </a:p>
              </p:txBody>
            </p:sp>
          </p:grpSp>
          <p:sp>
            <p:nvSpPr>
              <p:cNvPr id="129" name="Rectangle 128"/>
              <p:cNvSpPr/>
              <p:nvPr/>
            </p:nvSpPr>
            <p:spPr>
              <a:xfrm>
                <a:off x="1003776" y="4859143"/>
                <a:ext cx="1762631" cy="14828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98">
                  <a:defRPr/>
                </a:pPr>
                <a:r>
                  <a:rPr lang="en-US" sz="1765" kern="0" dirty="0">
                    <a:gradFill>
                      <a:gsLst>
                        <a:gs pos="100000">
                          <a:srgbClr val="FFFFFF"/>
                        </a:gs>
                        <a:gs pos="31000">
                          <a:srgbClr val="FFFFFF"/>
                        </a:gs>
                      </a:gsLst>
                      <a:lin ang="5400000" scaled="0"/>
                    </a:gradFill>
                    <a:latin typeface="Segoe UI Semibold" panose="020B0702040204020203" pitchFamily="34" charset="0"/>
                    <a:cs typeface="Segoe UI Semibold" panose="020B0702040204020203" pitchFamily="34" charset="0"/>
                  </a:rPr>
                  <a:t>DATA</a:t>
                </a:r>
              </a:p>
            </p:txBody>
          </p:sp>
        </p:grpSp>
        <p:cxnSp>
          <p:nvCxnSpPr>
            <p:cNvPr id="147" name="Straight Connector 146"/>
            <p:cNvCxnSpPr/>
            <p:nvPr/>
          </p:nvCxnSpPr>
          <p:spPr>
            <a:xfrm>
              <a:off x="804989" y="4333994"/>
              <a:ext cx="3291840"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2378074" y="3862497"/>
              <a:ext cx="1719563" cy="43088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Transform data into rich BI semantic models</a:t>
              </a:r>
            </a:p>
          </p:txBody>
        </p:sp>
      </p:grpSp>
      <p:grpSp>
        <p:nvGrpSpPr>
          <p:cNvPr id="48" name="Group 47"/>
          <p:cNvGrpSpPr/>
          <p:nvPr/>
        </p:nvGrpSpPr>
        <p:grpSpPr>
          <a:xfrm>
            <a:off x="11075185" y="291515"/>
            <a:ext cx="887461" cy="887461"/>
            <a:chOff x="613918" y="2254735"/>
            <a:chExt cx="1456902" cy="1412358"/>
          </a:xfrm>
        </p:grpSpPr>
        <p:sp>
          <p:nvSpPr>
            <p:cNvPr id="49" name="Oval 48"/>
            <p:cNvSpPr/>
            <p:nvPr/>
          </p:nvSpPr>
          <p:spPr bwMode="auto">
            <a:xfrm>
              <a:off x="613918" y="2254735"/>
              <a:ext cx="1456902"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pic>
          <p:nvPicPr>
            <p:cNvPr id="50" name="Picture 49"/>
            <p:cNvPicPr>
              <a:picLocks noChangeAspect="1"/>
            </p:cNvPicPr>
            <p:nvPr/>
          </p:nvPicPr>
          <p:blipFill>
            <a:blip r:embed="rId5">
              <a:duotone>
                <a:schemeClr val="accent5">
                  <a:shade val="45000"/>
                  <a:satMod val="135000"/>
                </a:schemeClr>
                <a:prstClr val="white"/>
              </a:duotone>
            </a:blip>
            <a:stretch>
              <a:fillRect/>
            </a:stretch>
          </p:blipFill>
          <p:spPr>
            <a:xfrm>
              <a:off x="936579" y="2654379"/>
              <a:ext cx="830098" cy="644601"/>
            </a:xfrm>
            <a:prstGeom prst="rect">
              <a:avLst/>
            </a:prstGeom>
          </p:spPr>
        </p:pic>
      </p:grpSp>
    </p:spTree>
    <p:extLst>
      <p:ext uri="{BB962C8B-B14F-4D97-AF65-F5344CB8AC3E}">
        <p14:creationId xmlns:p14="http://schemas.microsoft.com/office/powerpoint/2010/main" val="57885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bwMode="auto">
          <a:xfrm>
            <a:off x="6223960" y="5060968"/>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Insights at the speed of thought</a:t>
            </a:r>
            <a:br>
              <a:rPr lang="en-US" dirty="0"/>
            </a:br>
            <a:r>
              <a:rPr lang="en-US" sz="3137" dirty="0">
                <a:gradFill>
                  <a:gsLst>
                    <a:gs pos="1250">
                      <a:schemeClr val="tx2"/>
                    </a:gs>
                    <a:gs pos="100000">
                      <a:schemeClr val="tx2"/>
                    </a:gs>
                  </a:gsLst>
                  <a:lin ang="5400000" scaled="0"/>
                </a:gradFill>
              </a:rPr>
              <a:t>Gain instant insights using your preferred visualization tools</a:t>
            </a:r>
            <a:endParaRPr lang="en-US" dirty="0">
              <a:gradFill>
                <a:gsLst>
                  <a:gs pos="1250">
                    <a:schemeClr val="tx2"/>
                  </a:gs>
                  <a:gs pos="100000">
                    <a:schemeClr val="tx2"/>
                  </a:gs>
                </a:gsLst>
                <a:lin ang="5400000" scaled="0"/>
              </a:gradFill>
            </a:endParaRPr>
          </a:p>
        </p:txBody>
      </p:sp>
      <p:grpSp>
        <p:nvGrpSpPr>
          <p:cNvPr id="44" name="Group 43"/>
          <p:cNvGrpSpPr>
            <a:grpSpLocks noChangeAspect="1"/>
          </p:cNvGrpSpPr>
          <p:nvPr/>
        </p:nvGrpSpPr>
        <p:grpSpPr>
          <a:xfrm>
            <a:off x="448213" y="2935967"/>
            <a:ext cx="3227129" cy="1908523"/>
            <a:chOff x="4661589" y="1873556"/>
            <a:chExt cx="3610696" cy="2135366"/>
          </a:xfrm>
        </p:grpSpPr>
        <p:sp>
          <p:nvSpPr>
            <p:cNvPr id="45" name="Freeform 266">
              <a:extLst/>
            </p:cNvPr>
            <p:cNvSpPr>
              <a:spLocks noChangeAspect="1"/>
            </p:cNvSpPr>
            <p:nvPr/>
          </p:nvSpPr>
          <p:spPr bwMode="black">
            <a:xfrm>
              <a:off x="4661589" y="1873556"/>
              <a:ext cx="3610696" cy="213536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w="19050">
              <a:solidFill>
                <a:schemeClr val="accent1"/>
              </a:solidFill>
            </a:ln>
          </p:spPr>
          <p:txBody>
            <a:bodyPr vert="horz" wrap="square" lIns="89606" tIns="44804" rIns="89606" bIns="44804" numCol="1" anchor="t" anchorCtr="0" compatLnSpc="1">
              <a:prstTxWarp prst="textNoShape">
                <a:avLst/>
              </a:prstTxWarp>
            </a:bodyPr>
            <a:lstStyle/>
            <a:p>
              <a:pPr defTabSz="914225">
                <a:defRPr/>
              </a:pPr>
              <a:endParaRPr lang="en-US" sz="1764" dirty="0">
                <a:solidFill>
                  <a:srgbClr val="2C2C2C"/>
                </a:solidFill>
                <a:latin typeface="Segoe UI"/>
              </a:endParaRPr>
            </a:p>
          </p:txBody>
        </p:sp>
        <p:sp>
          <p:nvSpPr>
            <p:cNvPr id="46" name="TextBox 45">
              <a:extLst/>
            </p:cNvPr>
            <p:cNvSpPr txBox="1"/>
            <p:nvPr/>
          </p:nvSpPr>
          <p:spPr>
            <a:xfrm>
              <a:off x="5363444" y="3600964"/>
              <a:ext cx="2206985" cy="337589"/>
            </a:xfrm>
            <a:prstGeom prst="rect">
              <a:avLst/>
            </a:prstGeom>
            <a:noFill/>
          </p:spPr>
          <p:txBody>
            <a:bodyPr wrap="none" rtlCol="0">
              <a:spAutoFit/>
            </a:bodyPr>
            <a:lstStyle/>
            <a:p>
              <a:pPr algn="ctr" defTabSz="914225">
                <a:defRPr/>
              </a:pPr>
              <a:r>
                <a:rPr lang="en-US" sz="1372" kern="0" dirty="0">
                  <a:solidFill>
                    <a:srgbClr val="0070C0"/>
                  </a:solidFill>
                  <a:latin typeface="Segoe UI" panose="020B0502040204020203" pitchFamily="34" charset="0"/>
                  <a:cs typeface="Segoe UI" panose="020B0502040204020203" pitchFamily="34" charset="0"/>
                </a:rPr>
                <a:t>Azure Analysis Services</a:t>
              </a:r>
            </a:p>
          </p:txBody>
        </p:sp>
        <p:pic>
          <p:nvPicPr>
            <p:cNvPr id="47" name="Picture 46">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p:blipFill>
          <p:spPr>
            <a:xfrm>
              <a:off x="5922966" y="2582862"/>
              <a:ext cx="1087942" cy="850025"/>
            </a:xfrm>
            <a:prstGeom prst="rect">
              <a:avLst/>
            </a:prstGeom>
          </p:spPr>
        </p:pic>
      </p:grpSp>
      <p:cxnSp>
        <p:nvCxnSpPr>
          <p:cNvPr id="49" name="Straight Connector 48"/>
          <p:cNvCxnSpPr/>
          <p:nvPr/>
        </p:nvCxnSpPr>
        <p:spPr>
          <a:xfrm>
            <a:off x="3689030" y="4249284"/>
            <a:ext cx="2330705" cy="0"/>
          </a:xfrm>
          <a:prstGeom prst="line">
            <a:avLst/>
          </a:prstGeom>
          <a:ln w="1270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720474" y="3787056"/>
            <a:ext cx="2330705" cy="422417"/>
          </a:xfrm>
          <a:prstGeom prst="rect">
            <a:avLst/>
          </a:prstGeom>
          <a:noFill/>
        </p:spPr>
        <p:txBody>
          <a:bodyPr wrap="square" rtlCol="0">
            <a:spAutoFit/>
          </a:bodyPr>
          <a:lstStyle/>
          <a:p>
            <a:pPr defTabSz="913523">
              <a:defRPr/>
            </a:pPr>
            <a:r>
              <a:rPr lang="en-US" sz="1078" kern="0" dirty="0">
                <a:gradFill>
                  <a:gsLst>
                    <a:gs pos="11504">
                      <a:srgbClr val="353535"/>
                    </a:gs>
                    <a:gs pos="37168">
                      <a:srgbClr val="353535"/>
                    </a:gs>
                  </a:gsLst>
                  <a:lin ang="5400000" scaled="0"/>
                </a:gradFill>
                <a:latin typeface="Segoe UI"/>
              </a:rPr>
              <a:t>Explore models using visualization tools and gain instant insights</a:t>
            </a:r>
          </a:p>
        </p:txBody>
      </p:sp>
      <p:sp>
        <p:nvSpPr>
          <p:cNvPr id="73" name="Freeform 13"/>
          <p:cNvSpPr>
            <a:spLocks noEditPoints="1"/>
          </p:cNvSpPr>
          <p:nvPr/>
        </p:nvSpPr>
        <p:spPr bwMode="auto">
          <a:xfrm>
            <a:off x="6435344" y="5459991"/>
            <a:ext cx="787413" cy="426533"/>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bg1">
              <a:lumMod val="50000"/>
            </a:schemeClr>
          </a:solidFill>
          <a:ln>
            <a:noFill/>
          </a:ln>
        </p:spPr>
        <p:txBody>
          <a:bodyPr vert="horz" wrap="square" lIns="91375" tIns="45688" rIns="91375" bIns="45688" numCol="1" anchor="t" anchorCtr="0" compatLnSpc="1">
            <a:prstTxWarp prst="textNoShape">
              <a:avLst/>
            </a:prstTxWarp>
          </a:bodyPr>
          <a:lstStyle/>
          <a:p>
            <a:pPr defTabSz="931793">
              <a:defRPr/>
            </a:pPr>
            <a:endParaRPr lang="en-US" sz="980" b="1" kern="0">
              <a:solidFill>
                <a:srgbClr val="FFFFFF"/>
              </a:solidFill>
              <a:latin typeface="Segoe UI"/>
            </a:endParaRPr>
          </a:p>
        </p:txBody>
      </p:sp>
      <p:sp>
        <p:nvSpPr>
          <p:cNvPr id="75" name="Content Placeholder 2"/>
          <p:cNvSpPr txBox="1">
            <a:spLocks/>
          </p:cNvSpPr>
          <p:nvPr/>
        </p:nvSpPr>
        <p:spPr>
          <a:xfrm>
            <a:off x="8157777" y="2453202"/>
            <a:ext cx="3585699" cy="3624319"/>
          </a:xfrm>
          <a:prstGeom prst="rect">
            <a:avLst/>
          </a:prstGeom>
        </p:spPr>
        <p:txBody>
          <a:bodyPr vert="horz" wrap="square" lIns="146284" tIns="91427" rIns="146284" bIns="91427" rtlCol="0" anchor="ctr" anchorCtr="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mpower your business users with familiar data visualization tools like Power BI, Excel, and others</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nable users to explore data and gain insights instantly with in-memory cache</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Extend the value of your existing data</a:t>
            </a:r>
          </a:p>
          <a:p>
            <a:pPr marL="224097" indent="-224097">
              <a:spcBef>
                <a:spcPts val="1176"/>
              </a:spcBef>
              <a:buFont typeface="Wingdings" panose="05000000000000000000" pitchFamily="2" charset="2"/>
              <a:buChar char=""/>
            </a:pPr>
            <a:r>
              <a:rPr lang="en-US" sz="1961" dirty="0">
                <a:gradFill>
                  <a:gsLst>
                    <a:gs pos="1250">
                      <a:srgbClr val="353535"/>
                    </a:gs>
                    <a:gs pos="100000">
                      <a:srgbClr val="353535"/>
                    </a:gs>
                  </a:gsLst>
                  <a:lin ang="5400000" scaled="0"/>
                </a:gradFill>
                <a:latin typeface="Segoe UI Semilight"/>
              </a:rPr>
              <a:t>Access virtually any data—wherever it is </a:t>
            </a:r>
          </a:p>
        </p:txBody>
      </p:sp>
      <p:sp>
        <p:nvSpPr>
          <p:cNvPr id="56" name="Oval 55"/>
          <p:cNvSpPr/>
          <p:nvPr/>
        </p:nvSpPr>
        <p:spPr bwMode="auto">
          <a:xfrm>
            <a:off x="6223960" y="2321892"/>
            <a:ext cx="1210184" cy="1210184"/>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6" name="Group 5"/>
          <p:cNvGrpSpPr/>
          <p:nvPr/>
        </p:nvGrpSpPr>
        <p:grpSpPr>
          <a:xfrm>
            <a:off x="6530514" y="2707692"/>
            <a:ext cx="597076" cy="438584"/>
            <a:chOff x="10269489" y="5417502"/>
            <a:chExt cx="741613" cy="544754"/>
          </a:xfrm>
          <a:solidFill>
            <a:schemeClr val="bg1">
              <a:lumMod val="50000"/>
            </a:schemeClr>
          </a:solidFill>
        </p:grpSpPr>
        <p:sp>
          <p:nvSpPr>
            <p:cNvPr id="29" name="Freeform 7">
              <a:extLst/>
            </p:cNvPr>
            <p:cNvSpPr>
              <a:spLocks noChangeAspect="1" noEditPoints="1"/>
            </p:cNvSpPr>
            <p:nvPr/>
          </p:nvSpPr>
          <p:spPr bwMode="auto">
            <a:xfrm>
              <a:off x="10269489" y="5417502"/>
              <a:ext cx="741613" cy="54475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grpFill/>
            <a:ln w="25400" cap="flat" cmpd="sng" algn="ctr">
              <a:noFill/>
              <a:prstDash val="solid"/>
              <a:headEnd type="none" w="med" len="med"/>
              <a:tailEnd type="none" w="med" len="med"/>
            </a:ln>
            <a:effectLst/>
          </p:spPr>
          <p:txBody>
            <a:bodyPr vert="horz" wrap="square" lIns="121876" tIns="60938" rIns="121876" bIns="60938" numCol="1" rtlCol="0" anchor="ctr" anchorCtr="0" compatLnSpc="1">
              <a:prstTxWarp prst="textNoShape">
                <a:avLst/>
              </a:prstTxWarp>
            </a:bodyPr>
            <a:lstStyle/>
            <a:p>
              <a:pPr defTabSz="1096868">
                <a:defRPr/>
              </a:pPr>
              <a:endParaRPr lang="en-US" sz="2900" kern="0" spc="-180">
                <a:solidFill>
                  <a:srgbClr val="00BCF2"/>
                </a:solidFill>
                <a:latin typeface="Segoe Light" pitchFamily="34" charset="0"/>
              </a:endParaRPr>
            </a:p>
          </p:txBody>
        </p:sp>
        <p:sp>
          <p:nvSpPr>
            <p:cNvPr id="30" name="Freeform 271">
              <a:extLst/>
            </p:cNvPr>
            <p:cNvSpPr>
              <a:spLocks noChangeAspect="1"/>
            </p:cNvSpPr>
            <p:nvPr/>
          </p:nvSpPr>
          <p:spPr>
            <a:xfrm>
              <a:off x="10479325" y="5554381"/>
              <a:ext cx="296807" cy="224090"/>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grp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a:solidFill>
                  <a:srgbClr val="FFFFFF"/>
                </a:solidFill>
                <a:latin typeface="Segoe UI"/>
              </a:endParaRPr>
            </a:p>
          </p:txBody>
        </p:sp>
      </p:grpSp>
      <p:grpSp>
        <p:nvGrpSpPr>
          <p:cNvPr id="3" name="Group 2"/>
          <p:cNvGrpSpPr/>
          <p:nvPr/>
        </p:nvGrpSpPr>
        <p:grpSpPr>
          <a:xfrm>
            <a:off x="6213842" y="3684380"/>
            <a:ext cx="1210184" cy="1210184"/>
            <a:chOff x="7788942" y="1737333"/>
            <a:chExt cx="1234451" cy="1234451"/>
          </a:xfrm>
        </p:grpSpPr>
        <p:sp>
          <p:nvSpPr>
            <p:cNvPr id="57" name="Oval 56"/>
            <p:cNvSpPr/>
            <p:nvPr/>
          </p:nvSpPr>
          <p:spPr bwMode="auto">
            <a:xfrm>
              <a:off x="7788942" y="1737333"/>
              <a:ext cx="1234451" cy="1234451"/>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3" name="Group 32">
              <a:extLst/>
            </p:cNvPr>
            <p:cNvGrpSpPr>
              <a:grpSpLocks noChangeAspect="1"/>
            </p:cNvGrpSpPr>
            <p:nvPr/>
          </p:nvGrpSpPr>
          <p:grpSpPr>
            <a:xfrm>
              <a:off x="8223287" y="2130869"/>
              <a:ext cx="365760" cy="443186"/>
              <a:chOff x="9823400" y="2873239"/>
              <a:chExt cx="531360" cy="635293"/>
            </a:xfrm>
            <a:solidFill>
              <a:srgbClr val="282828"/>
            </a:solidFill>
          </p:grpSpPr>
          <p:sp>
            <p:nvSpPr>
              <p:cNvPr id="34" name="Freeform 31">
                <a:extLst/>
              </p:cNvPr>
              <p:cNvSpPr>
                <a:spLocks noEditPoints="1"/>
              </p:cNvSpPr>
              <p:nvPr/>
            </p:nvSpPr>
            <p:spPr bwMode="auto">
              <a:xfrm>
                <a:off x="9898752" y="287323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ysClr val="windowText" lastClr="000000"/>
                  </a:solidFill>
                  <a:latin typeface="Segoe UI Semilight"/>
                </a:endParaRPr>
              </a:p>
            </p:txBody>
          </p:sp>
          <p:sp>
            <p:nvSpPr>
              <p:cNvPr id="35" name="Freeform 32">
                <a:extLst/>
              </p:cNvPr>
              <p:cNvSpPr>
                <a:spLocks/>
              </p:cNvSpPr>
              <p:nvPr/>
            </p:nvSpPr>
            <p:spPr bwMode="auto">
              <a:xfrm>
                <a:off x="9823400" y="3234408"/>
                <a:ext cx="531360"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chemeClr val="bg1">
                  <a:lumMod val="50000"/>
                </a:schemeClr>
              </a:solidFill>
              <a:ln w="9525">
                <a:no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grpSp>
      <p:pic>
        <p:nvPicPr>
          <p:cNvPr id="5" name="Picture 4"/>
          <p:cNvPicPr>
            <a:picLocks noChangeAspect="1"/>
          </p:cNvPicPr>
          <p:nvPr/>
        </p:nvPicPr>
        <p:blipFill>
          <a:blip r:embed="rId5">
            <a:duotone>
              <a:schemeClr val="accent5">
                <a:shade val="45000"/>
                <a:satMod val="135000"/>
              </a:schemeClr>
              <a:prstClr val="white"/>
            </a:duotone>
          </a:blip>
          <a:stretch>
            <a:fillRect/>
          </a:stretch>
        </p:blipFill>
        <p:spPr>
          <a:xfrm>
            <a:off x="6700293" y="5546532"/>
            <a:ext cx="238121" cy="239054"/>
          </a:xfrm>
          <a:prstGeom prst="rect">
            <a:avLst/>
          </a:prstGeom>
        </p:spPr>
      </p:pic>
      <p:grpSp>
        <p:nvGrpSpPr>
          <p:cNvPr id="37" name="Group 36"/>
          <p:cNvGrpSpPr/>
          <p:nvPr/>
        </p:nvGrpSpPr>
        <p:grpSpPr>
          <a:xfrm>
            <a:off x="11074971" y="298982"/>
            <a:ext cx="887461" cy="887461"/>
            <a:chOff x="9301751" y="2254735"/>
            <a:chExt cx="1412358" cy="1412358"/>
          </a:xfrm>
        </p:grpSpPr>
        <p:sp>
          <p:nvSpPr>
            <p:cNvPr id="38" name="Oval 37"/>
            <p:cNvSpPr/>
            <p:nvPr/>
          </p:nvSpPr>
          <p:spPr bwMode="auto">
            <a:xfrm>
              <a:off x="9301751" y="2254735"/>
              <a:ext cx="1412358" cy="1412358"/>
            </a:xfrm>
            <a:prstGeom prst="ellipse">
              <a:avLst/>
            </a:prstGeom>
            <a:solidFill>
              <a:srgbClr val="F8F8F8"/>
            </a:solidFill>
            <a:ln w="444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961" dirty="0" err="1">
                <a:gradFill>
                  <a:gsLst>
                    <a:gs pos="5439">
                      <a:srgbClr val="F8F8F8"/>
                    </a:gs>
                    <a:gs pos="10000">
                      <a:srgbClr val="F8F8F8"/>
                    </a:gs>
                  </a:gsLst>
                  <a:lin ang="5400000" scaled="0"/>
                </a:gradFill>
                <a:latin typeface="Segoe UI"/>
              </a:endParaRPr>
            </a:p>
          </p:txBody>
        </p:sp>
        <p:grpSp>
          <p:nvGrpSpPr>
            <p:cNvPr id="39" name="Group 38"/>
            <p:cNvGrpSpPr/>
            <p:nvPr/>
          </p:nvGrpSpPr>
          <p:grpSpPr>
            <a:xfrm>
              <a:off x="9642289" y="2665588"/>
              <a:ext cx="731283" cy="590653"/>
              <a:chOff x="9722329" y="2521754"/>
              <a:chExt cx="1155675" cy="933431"/>
            </a:xfrm>
          </p:grpSpPr>
          <p:sp>
            <p:nvSpPr>
              <p:cNvPr id="40" name="Freeform 33"/>
              <p:cNvSpPr>
                <a:spLocks noChangeAspect="1" noEditPoints="1"/>
              </p:cNvSpPr>
              <p:nvPr/>
            </p:nvSpPr>
            <p:spPr bwMode="black">
              <a:xfrm>
                <a:off x="10216814" y="2679763"/>
                <a:ext cx="451890" cy="32143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50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41" name="Freeform 9"/>
              <p:cNvSpPr>
                <a:spLocks noChangeAspect="1" noEditPoints="1"/>
              </p:cNvSpPr>
              <p:nvPr/>
            </p:nvSpPr>
            <p:spPr bwMode="black">
              <a:xfrm rot="16200000" flipH="1">
                <a:off x="10122317" y="2406954"/>
                <a:ext cx="640887" cy="870487"/>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 name="Group 41"/>
              <p:cNvGrpSpPr/>
              <p:nvPr/>
            </p:nvGrpSpPr>
            <p:grpSpPr>
              <a:xfrm>
                <a:off x="9722329" y="2871605"/>
                <a:ext cx="584013" cy="583580"/>
                <a:chOff x="9651050" y="2802005"/>
                <a:chExt cx="660577" cy="660087"/>
              </a:xfrm>
            </p:grpSpPr>
            <p:sp>
              <p:nvSpPr>
                <p:cNvPr id="43" name="Oval 42"/>
                <p:cNvSpPr/>
                <p:nvPr/>
              </p:nvSpPr>
              <p:spPr bwMode="auto">
                <a:xfrm>
                  <a:off x="9651050" y="2806838"/>
                  <a:ext cx="655256" cy="65525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reeform 302"/>
                <p:cNvSpPr/>
                <p:nvPr/>
              </p:nvSpPr>
              <p:spPr bwMode="auto">
                <a:xfrm>
                  <a:off x="9656370" y="2802003"/>
                  <a:ext cx="655252" cy="655251"/>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6851730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10.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03FEF816-340D-4B9C-9853-240329BDD2C4}" vid="{3EB696E5-6E8A-486C-81B8-161D97ECDF2F}"/>
    </a:ext>
  </a:extLst>
</a:theme>
</file>

<file path=ppt/theme/theme11.xml><?xml version="1.0" encoding="utf-8"?>
<a:theme xmlns:a="http://schemas.openxmlformats.org/drawingml/2006/main" name="8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2.xml><?xml version="1.0" encoding="utf-8"?>
<a:theme xmlns:a="http://schemas.openxmlformats.org/drawingml/2006/main" name="2_IoYT Content slides">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NEW IoYT 16x9 template - Oct 2014" id="{CA135B35-18E4-4CF4-AB18-766E2B89FDDE}" vid="{B23F0A26-FB61-455E-B6CB-DD3D6D879B26}"/>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 id="{8CB21BE8-F48F-4D88-8D8E-91D1D080601D}" vid="{EE3D9C20-80C7-4D70-8FF3-828A31A2FDF4}"/>
    </a:ext>
  </a:extLst>
</a:theme>
</file>

<file path=ppt/theme/theme15.xml><?xml version="1.0" encoding="utf-8"?>
<a:theme xmlns:a="http://schemas.openxmlformats.org/drawingml/2006/main" name="WPC2010_breakout_arcguide[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6.xml><?xml version="1.0" encoding="utf-8"?>
<a:theme xmlns:a="http://schemas.openxmlformats.org/drawingml/2006/main" name="Theme1">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F70A9902-BA9A-42FC-9EEF-68820369D0DB}" vid="{0F71DB25-3243-45FF-9C91-F7F0238C7468}"/>
    </a:ext>
  </a:extLst>
</a:theme>
</file>

<file path=ppt/theme/theme17.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18.xml><?xml version="1.0" encoding="utf-8"?>
<a:theme xmlns:a="http://schemas.openxmlformats.org/drawingml/2006/main" name="10_Azure_PPT_template 1">
  <a:themeElements>
    <a:clrScheme name="Custom 2">
      <a:dk1>
        <a:srgbClr val="505050"/>
      </a:dk1>
      <a:lt1>
        <a:srgbClr val="FFFFFF"/>
      </a:lt1>
      <a:dk2>
        <a:srgbClr val="002050"/>
      </a:dk2>
      <a:lt2>
        <a:srgbClr val="D2D2D2"/>
      </a:lt2>
      <a:accent1>
        <a:srgbClr val="00BCF2"/>
      </a:accent1>
      <a:accent2>
        <a:srgbClr val="0072C6"/>
      </a:accent2>
      <a:accent3>
        <a:srgbClr val="00188F"/>
      </a:accent3>
      <a:accent4>
        <a:srgbClr val="008272"/>
      </a:accent4>
      <a:accent5>
        <a:srgbClr val="68217A"/>
      </a:accent5>
      <a:accent6>
        <a:srgbClr val="DC3C00"/>
      </a:accent6>
      <a:hlink>
        <a:srgbClr val="00BCF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3-30442_Partner_Advisory_Council_2014_16x9_Template">
  <a:themeElements>
    <a:clrScheme name="PAC 2014">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artner_Advisory_Council_2015_16x9_Template" id="{C48B5C61-394C-4F9B-8B33-1775F5D47661}" vid="{E26EE4AF-6AEC-4F73-8FA4-9C204447BB10}"/>
    </a:ext>
  </a:extLst>
</a:theme>
</file>

<file path=ppt/theme/theme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20.xml><?xml version="1.0" encoding="utf-8"?>
<a:theme xmlns:a="http://schemas.openxmlformats.org/drawingml/2006/main" name="1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23.xml><?xml version="1.0" encoding="utf-8"?>
<a:theme xmlns:a="http://schemas.openxmlformats.org/drawingml/2006/main" name="3_WHITE TEMPLATE">
  <a:themeElements>
    <a:clrScheme name="TT_2014_WHITE with BLUE accent">
      <a:dk1>
        <a:srgbClr val="505050"/>
      </a:dk1>
      <a:lt1>
        <a:srgbClr val="FFFFFF"/>
      </a:lt1>
      <a:dk2>
        <a:srgbClr val="0078D7"/>
      </a:dk2>
      <a:lt2>
        <a:srgbClr val="00BCF2"/>
      </a:lt2>
      <a:accent1>
        <a:srgbClr val="0078D7"/>
      </a:accent1>
      <a:accent2>
        <a:srgbClr val="B4009E"/>
      </a:accent2>
      <a:accent3>
        <a:srgbClr val="008272"/>
      </a:accent3>
      <a:accent4>
        <a:srgbClr val="5C2D91"/>
      </a:accent4>
      <a:accent5>
        <a:srgbClr val="D83B01"/>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Consumer_DARK_BLUE_2.potx" id="{9A94ED96-EF3D-429A-8DA7-02A95C67711D}" vid="{43F968B8-1A54-4F6C-A1FB-366779729A30}"/>
    </a:ext>
  </a:extLst>
</a:theme>
</file>

<file path=ppt/theme/theme24.xml><?xml version="1.0" encoding="utf-8"?>
<a:theme xmlns:a="http://schemas.openxmlformats.org/drawingml/2006/main" name="4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5.xml><?xml version="1.0" encoding="utf-8"?>
<a:theme xmlns:a="http://schemas.openxmlformats.org/drawingml/2006/main" name="5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J Revo Microsoft Template v1.1" id="{1CBD8650-303C-4941-B3C2-3981FD87148F}" vid="{B57793FC-CA37-48D5-95B8-058C1A460402}"/>
    </a:ext>
  </a:extLst>
</a:theme>
</file>

<file path=ppt/theme/theme26.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6350">
          <a:solidFill>
            <a:schemeClr val="tx1"/>
          </a:solidFill>
        </a:ln>
      </a:spPr>
      <a:bodyPr rtlCol="0" anchor="ctr"/>
      <a:lstStyle>
        <a:defPPr algn="ctr">
          <a:defRPr sz="2448" dirty="0"/>
        </a:defP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rain White Template" id="{11AE69C6-6350-4B3D-85DF-C77CC45267BA}" vid="{1ADF391D-8767-4206-AF49-954C4ECC6C3C}"/>
    </a:ext>
  </a:extLst>
</a:theme>
</file>

<file path=ppt/theme/theme27.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28.xml><?xml version="1.0" encoding="utf-8"?>
<a:theme xmlns:a="http://schemas.openxmlformats.org/drawingml/2006/main" name="7_WHITE TEMPLATE">
  <a:themeElements>
    <a:clrScheme name="BT - Teal on white">
      <a:dk1>
        <a:srgbClr val="505050"/>
      </a:dk1>
      <a:lt1>
        <a:srgbClr val="FFFFFF"/>
      </a:lt1>
      <a:dk2>
        <a:srgbClr val="008272"/>
      </a:dk2>
      <a:lt2>
        <a:srgbClr val="CDF4FF"/>
      </a:lt2>
      <a:accent1>
        <a:srgbClr val="008272"/>
      </a:accent1>
      <a:accent2>
        <a:srgbClr val="004B50"/>
      </a:accent2>
      <a:accent3>
        <a:srgbClr val="0078D7"/>
      </a:accent3>
      <a:accent4>
        <a:srgbClr val="D83B01"/>
      </a:accent4>
      <a:accent5>
        <a:srgbClr val="B4009E"/>
      </a:accent5>
      <a:accent6>
        <a:srgbClr val="32145A"/>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TEAL_2016_3.potx" id="{ABDA7C2D-D8EC-4C70-8909-69D7662FB6B6}" vid="{6CF2C168-2974-4EA8-BF05-BCAD5B498205}"/>
    </a:ext>
  </a:extLst>
</a:theme>
</file>

<file path=ppt/theme/theme29.xml><?xml version="1.0" encoding="utf-8"?>
<a:theme xmlns:a="http://schemas.openxmlformats.org/drawingml/2006/main" name="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0.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31.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32.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3.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5.xml><?xml version="1.0" encoding="utf-8"?>
<a:theme xmlns:a="http://schemas.openxmlformats.org/drawingml/2006/main" name="8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36.xml><?xml version="1.0" encoding="utf-8"?>
<a:theme xmlns:a="http://schemas.openxmlformats.org/drawingml/2006/main" name="1_Office Theme">
  <a:themeElements>
    <a:clrScheme name="Custom 39">
      <a:dk1>
        <a:srgbClr val="2C2C2C"/>
      </a:dk1>
      <a:lt1>
        <a:srgbClr val="FFFFFF"/>
      </a:lt1>
      <a:dk2>
        <a:srgbClr val="505050"/>
      </a:dk2>
      <a:lt2>
        <a:srgbClr val="D2D2D2"/>
      </a:lt2>
      <a:accent1>
        <a:srgbClr val="0078D7"/>
      </a:accent1>
      <a:accent2>
        <a:srgbClr val="BAD80A"/>
      </a:accent2>
      <a:accent3>
        <a:srgbClr val="68217A"/>
      </a:accent3>
      <a:accent4>
        <a:srgbClr val="C00000"/>
      </a:accent4>
      <a:accent5>
        <a:srgbClr val="FF8C00"/>
      </a:accent5>
      <a:accent6>
        <a:srgbClr val="00BCF2"/>
      </a:accent6>
      <a:hlink>
        <a:srgbClr val="00BCF2"/>
      </a:hlink>
      <a:folHlink>
        <a:srgbClr val="00BCF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8.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2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2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4.xml><?xml version="1.0" encoding="utf-8"?>
<a:theme xmlns:a="http://schemas.openxmlformats.org/drawingml/2006/main" name="1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PASS 2013_SpeakerTemplate_16x9">
  <a:themeElements>
    <a:clrScheme name="PASS Brand Colors">
      <a:dk1>
        <a:srgbClr val="101820"/>
      </a:dk1>
      <a:lt1>
        <a:srgbClr val="6558B1"/>
      </a:lt1>
      <a:dk2>
        <a:srgbClr val="414954"/>
      </a:dk2>
      <a:lt2>
        <a:srgbClr val="FFFFFF"/>
      </a:lt2>
      <a:accent1>
        <a:srgbClr val="F9413A"/>
      </a:accent1>
      <a:accent2>
        <a:srgbClr val="AF272F"/>
      </a:accent2>
      <a:accent3>
        <a:srgbClr val="2CCCD3"/>
      </a:accent3>
      <a:accent4>
        <a:srgbClr val="007377"/>
      </a:accent4>
      <a:accent5>
        <a:srgbClr val="2E008B"/>
      </a:accent5>
      <a:accent6>
        <a:srgbClr val="6558B1"/>
      </a:accent6>
      <a:hlink>
        <a:srgbClr val="00BF6F"/>
      </a:hlink>
      <a:folHlink>
        <a:srgbClr val="00793E"/>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4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6.xml><?xml version="1.0" encoding="utf-8"?>
<a:theme xmlns:a="http://schemas.openxmlformats.org/drawingml/2006/main" name="3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 id="{23F76093-1046-4AF3-84AA-19C5D2FB0852}" vid="{1C71AE89-6A47-41A8-9720-D10C4E6044B9}"/>
    </a:ext>
  </a:extLst>
</a:theme>
</file>

<file path=ppt/theme/theme7.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9.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306FE59F-CD76-48ED-8E28-10FAF7CA1A30}" vid="{851E0477-2404-4CDF-998C-E6474CA8193D}"/>
    </a:ext>
  </a:extLst>
</a:theme>
</file>

<file path=docProps/app.xml><?xml version="1.0" encoding="utf-8"?>
<Properties xmlns="http://schemas.openxmlformats.org/officeDocument/2006/extended-properties" xmlns:vt="http://schemas.openxmlformats.org/officeDocument/2006/docPropsVTypes">
  <Template>TR23_BO_CT_Template</Template>
  <TotalTime>85272</TotalTime>
  <Words>9924</Words>
  <Application>Microsoft Office PowerPoint</Application>
  <PresentationFormat>Widescreen</PresentationFormat>
  <Paragraphs>1712</Paragraphs>
  <Slides>75</Slides>
  <Notes>75</Notes>
  <HiddenSlides>2</HiddenSlides>
  <MMClips>0</MMClips>
  <ScaleCrop>false</ScaleCrop>
  <HeadingPairs>
    <vt:vector size="8" baseType="variant">
      <vt:variant>
        <vt:lpstr>Fonts Used</vt:lpstr>
      </vt:variant>
      <vt:variant>
        <vt:i4>21</vt:i4>
      </vt:variant>
      <vt:variant>
        <vt:lpstr>Theme</vt:lpstr>
      </vt:variant>
      <vt:variant>
        <vt:i4>46</vt:i4>
      </vt:variant>
      <vt:variant>
        <vt:lpstr>Embedded OLE Servers</vt:lpstr>
      </vt:variant>
      <vt:variant>
        <vt:i4>2</vt:i4>
      </vt:variant>
      <vt:variant>
        <vt:lpstr>Slide Titles</vt:lpstr>
      </vt:variant>
      <vt:variant>
        <vt:i4>75</vt:i4>
      </vt:variant>
    </vt:vector>
  </HeadingPairs>
  <TitlesOfParts>
    <vt:vector size="144" baseType="lpstr">
      <vt:lpstr>MS PGothic</vt:lpstr>
      <vt:lpstr>MS PGothic</vt:lpstr>
      <vt:lpstr>Arial</vt:lpstr>
      <vt:lpstr>Calibri</vt:lpstr>
      <vt:lpstr>Calibri Light</vt:lpstr>
      <vt:lpstr>Courier New</vt:lpstr>
      <vt:lpstr>Mangal</vt:lpstr>
      <vt:lpstr>Microsoft Sans Serif</vt:lpstr>
      <vt:lpstr>Segoe Light</vt:lpstr>
      <vt:lpstr>Segoe Light</vt:lpstr>
      <vt:lpstr>Segoe UI</vt:lpstr>
      <vt:lpstr>Segoe UI Black</vt:lpstr>
      <vt:lpstr>Segoe UI Light</vt:lpstr>
      <vt:lpstr>Segoe UI Semibold</vt:lpstr>
      <vt:lpstr>Segoe UI Semilight</vt:lpstr>
      <vt:lpstr>Source Sans Pro</vt:lpstr>
      <vt:lpstr>Symbol</vt:lpstr>
      <vt:lpstr>Times New Roman</vt:lpstr>
      <vt:lpstr>Verdana</vt:lpstr>
      <vt:lpstr>Wingdings</vt:lpstr>
      <vt:lpstr>Wingdings 3</vt:lpstr>
      <vt:lpstr>5-50033_TR23_BO_CT_Template</vt:lpstr>
      <vt:lpstr>1_5-50033_TR23_BO_CT_Template</vt:lpstr>
      <vt:lpstr>COLOR TEMPLATE</vt:lpstr>
      <vt:lpstr>ISV temp</vt:lpstr>
      <vt:lpstr>2_5-50033_TR23_BO_CT_Template</vt:lpstr>
      <vt:lpstr>3_5-50033_TR23_BO_CT_Template</vt:lpstr>
      <vt:lpstr>WHITE TEMPLATE</vt:lpstr>
      <vt:lpstr>pass</vt:lpstr>
      <vt:lpstr>2_5-30545_S4_Template_16x9</vt:lpstr>
      <vt:lpstr>6-50029_S4_Q1_FY17_Light_Template</vt:lpstr>
      <vt:lpstr>8_Data Insights</vt:lpstr>
      <vt:lpstr>2_IoYT Content slides</vt:lpstr>
      <vt:lpstr>MGXFY15 GS Template - white layout</vt:lpstr>
      <vt:lpstr>1_WHITE TEMPLATE</vt:lpstr>
      <vt:lpstr>WPC2010_breakout_arcguide[1]</vt:lpstr>
      <vt:lpstr>Theme1</vt:lpstr>
      <vt:lpstr>2_WHITE TEMPLATE</vt:lpstr>
      <vt:lpstr>10_Azure_PPT_template 1</vt:lpstr>
      <vt:lpstr>3-30442_Partner_Advisory_Council_2014_16x9_Template</vt:lpstr>
      <vt:lpstr>17_Data Insights</vt:lpstr>
      <vt:lpstr>HEERON</vt:lpstr>
      <vt:lpstr>7_FY15 Enterprise identity theme</vt:lpstr>
      <vt:lpstr>3_WHITE TEMPLATE</vt:lpstr>
      <vt:lpstr>4_WHITE TEMPLATE</vt:lpstr>
      <vt:lpstr>5_WHITE TEMPLATE</vt:lpstr>
      <vt:lpstr>6_WHITE TEMPLATE</vt:lpstr>
      <vt:lpstr>5-50091_TR24_BO_CT_Template</vt:lpstr>
      <vt:lpstr>7_WHITE TEMPLATE</vt:lpstr>
      <vt:lpstr>Modern DW</vt:lpstr>
      <vt:lpstr>1_5-50091_TR24_BO_CT_Template</vt:lpstr>
      <vt:lpstr>Server and Cloud 2013</vt:lpstr>
      <vt:lpstr>1_5-50109_Microsoft_Light_Template</vt:lpstr>
      <vt:lpstr>MGXFY15</vt:lpstr>
      <vt:lpstr>2_5-50109_Microsoft_Light_Template</vt:lpstr>
      <vt:lpstr>8_WHITE TEMPLATE</vt:lpstr>
      <vt:lpstr>1_Office Theme</vt:lpstr>
      <vt:lpstr>1_ML</vt:lpstr>
      <vt:lpstr>1_MGXFY15</vt:lpstr>
      <vt:lpstr>EBC_2017</vt:lpstr>
      <vt:lpstr>2_MGXFY15</vt:lpstr>
      <vt:lpstr>Office Theme</vt:lpstr>
      <vt:lpstr>2_Office Theme</vt:lpstr>
      <vt:lpstr>5-30664_S4_Q1_FY16_Light_Template</vt:lpstr>
      <vt:lpstr>1_Modern DW</vt:lpstr>
      <vt:lpstr>PASS 2013_SpeakerTemplate_16x9</vt:lpstr>
      <vt:lpstr>5-50113_Microsoft_Ready_Light_Template</vt:lpstr>
      <vt:lpstr>think-cell Slide</vt:lpstr>
      <vt:lpstr>CorelDRAW</vt:lpstr>
      <vt:lpstr>Big Data with Azure What’s New and What’s on the Roadmap</vt:lpstr>
      <vt:lpstr>About Me</vt:lpstr>
      <vt:lpstr>Agenda</vt:lpstr>
      <vt:lpstr>Azure Analysis Services</vt:lpstr>
      <vt:lpstr>SSAS/Azure Analysis Services Cubes</vt:lpstr>
      <vt:lpstr>Comprehensive Microsoft BI offerings Hybrid architecture</vt:lpstr>
      <vt:lpstr>PowerPoint Presentation</vt:lpstr>
      <vt:lpstr>Rich semantic modeling Transform complex on-premises or cloud data into insights</vt:lpstr>
      <vt:lpstr>Insights at the speed of thought Gain instant insights using your preferred visualization tools</vt:lpstr>
      <vt:lpstr>Proven analytics engine Azure Analysis Services is based on SQL Server technology</vt:lpstr>
      <vt:lpstr>Platform-as-a-service solution All the benefits of the cloud in your analytics engine</vt:lpstr>
      <vt:lpstr>Azure Analysis Service tiers Select tier based on your needs</vt:lpstr>
      <vt:lpstr>PowerPoint Presentation</vt:lpstr>
      <vt:lpstr>Azure Analysis Services Azure Analysis Services is based on SQL Server technology</vt:lpstr>
      <vt:lpstr>Azure Databricks</vt:lpstr>
      <vt:lpstr>PowerPoint Presentation</vt:lpstr>
      <vt:lpstr>Big Data &amp; Advanced Analytics at a glance</vt:lpstr>
      <vt:lpstr>Why Spark?</vt:lpstr>
      <vt:lpstr>What is Azure Databricks?</vt:lpstr>
      <vt:lpstr>Differentiated experience on Azure</vt:lpstr>
      <vt:lpstr>Azure Databricks</vt:lpstr>
      <vt:lpstr>Collaborative Workspace</vt:lpstr>
      <vt:lpstr>Deploy Production Jobs &amp; Workflows</vt:lpstr>
      <vt:lpstr>Optimized Databricks Runtime Engine </vt:lpstr>
      <vt:lpstr>General Spark Cluster Architecture</vt:lpstr>
      <vt:lpstr>Azure Databricks Core ARTIFACTS</vt:lpstr>
      <vt:lpstr>Clusters: Auto Scaling and Auto Termination</vt:lpstr>
      <vt:lpstr>Databricks Spark is fast</vt:lpstr>
      <vt:lpstr>Modern Big Data Warehouse</vt:lpstr>
      <vt:lpstr>Advanced Analytics on Big Data</vt:lpstr>
      <vt:lpstr>Real-time analytics on Big Data</vt:lpstr>
      <vt:lpstr>Big Data OSS - Sales Guidance</vt:lpstr>
      <vt:lpstr>PowerPoint Presentation</vt:lpstr>
      <vt:lpstr>Cosmos DB</vt:lpstr>
      <vt:lpstr>Relational Databases vs Non-Relational Databases (NoSQL) vs Hadoop</vt:lpstr>
      <vt:lpstr>Domino’s Pizza delivers  through globally-distributed apps </vt:lpstr>
      <vt:lpstr>PowerPoint Presentation</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Introducing Azure Cosmos DB A globally distributed, massively scalable, multi-model database service</vt:lpstr>
      <vt:lpstr>Azure SQL Database Managed Instance</vt:lpstr>
      <vt:lpstr>Introducing Azure SQL Database Managed Instance</vt:lpstr>
      <vt:lpstr>What is SQL Database Managed Instance?</vt:lpstr>
      <vt:lpstr>Focus on your business…</vt:lpstr>
      <vt:lpstr>IAAS vs PAAS</vt:lpstr>
      <vt:lpstr>Easy migration: nearly 100% like SQL Server</vt:lpstr>
      <vt:lpstr>Backup/Restore to Managed Instances</vt:lpstr>
      <vt:lpstr>Easy migration: Database Migration Service (DMS)</vt:lpstr>
      <vt:lpstr>Easy migration: SSIS / SSAS / SSRS</vt:lpstr>
      <vt:lpstr>Azure Data Factory v2</vt:lpstr>
      <vt:lpstr>ADF V2 Improvements</vt:lpstr>
      <vt:lpstr>New ADF V2 Concepts</vt:lpstr>
      <vt:lpstr>New ADF V2 Concepts</vt:lpstr>
      <vt:lpstr>Patterns &amp; Scenarios for ADF V2</vt:lpstr>
      <vt:lpstr>Hybrid Data Integration Pattern 1: Analyze blog comments</vt:lpstr>
      <vt:lpstr>Hybrid Data Integration Pattern 2: Data-Driven SaaS App: Sentiment Analysis w/Machine Learning</vt:lpstr>
      <vt:lpstr>Hybrid Data Integration Pattern 3: Modern Data Warehouse</vt:lpstr>
      <vt:lpstr>ADFv2: Control Flow</vt:lpstr>
      <vt:lpstr>Integration Runtime</vt:lpstr>
      <vt:lpstr>PowerPoint Presentation</vt:lpstr>
      <vt:lpstr>PowerPoint Presentation</vt:lpstr>
      <vt:lpstr>PowerPoint Presentation</vt:lpstr>
      <vt:lpstr>PowerPoint Presentation</vt:lpstr>
      <vt:lpstr>PowerPoint Presentation</vt:lpstr>
      <vt:lpstr>Azure Data Factory “Integration Runtime” deployed on premises for transformation and then moved to cloud</vt:lpstr>
      <vt:lpstr>Azure Data Factory “Integration Runtime” deployed inside VNet</vt:lpstr>
      <vt:lpstr>SSIS in ADF</vt:lpstr>
      <vt:lpstr>SSIS as an Integration Runtime</vt:lpstr>
      <vt:lpstr>PowerPoint Presentation</vt:lpstr>
      <vt:lpstr>PowerPoint Presentation</vt:lpstr>
      <vt:lpstr>PowerPoint Presentation</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ing Robust Big Data Solutions</dc:title>
  <dc:creator>Brian Mitchell</dc:creator>
  <cp:lastModifiedBy>James Serra</cp:lastModifiedBy>
  <cp:revision>462</cp:revision>
  <dcterms:created xsi:type="dcterms:W3CDTF">2016-05-27T03:09:06Z</dcterms:created>
  <dcterms:modified xsi:type="dcterms:W3CDTF">2017-12-08T04: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serra@microsoft.com</vt:lpwstr>
  </property>
  <property fmtid="{D5CDD505-2E9C-101B-9397-08002B2CF9AE}" pid="5" name="MSIP_Label_f42aa342-8706-4288-bd11-ebb85995028c_SetDate">
    <vt:lpwstr>2017-12-02T04:44:44.888393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